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12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13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14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15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16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17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Override18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Override19.xml" ContentType="application/vnd.openxmlformats-officedocument.themeOverr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Override20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Override21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Override22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Override23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24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25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Override26.xml" ContentType="application/vnd.openxmlformats-officedocument.themeOverr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Override27.xml" ContentType="application/vnd.openxmlformats-officedocument.themeOverride+xml"/>
  <Override PartName="/ppt/tags/tag106.xml" ContentType="application/vnd.openxmlformats-officedocument.presentationml.tags+xml"/>
  <Override PartName="/ppt/theme/themeOverride28.xml" ContentType="application/vnd.openxmlformats-officedocument.themeOverride+xml"/>
  <Override PartName="/ppt/tags/tag107.xml" ContentType="application/vnd.openxmlformats-officedocument.presentationml.tags+xml"/>
  <Override PartName="/ppt/theme/themeOverride29.xml" ContentType="application/vnd.openxmlformats-officedocument.themeOverr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heme/themeOverride30.xml" ContentType="application/vnd.openxmlformats-officedocument.themeOverr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Override31.xml" ContentType="application/vnd.openxmlformats-officedocument.themeOverride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1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5.xml" ContentType="application/vnd.openxmlformats-officedocument.presentationml.notesSlide+xml"/>
  <Override PartName="/ppt/tags/tag131.xml" ContentType="application/vnd.openxmlformats-officedocument.presentationml.tags+xml"/>
  <Override PartName="/ppt/notesSlides/notesSlide6.xml" ContentType="application/vnd.openxmlformats-officedocument.presentationml.notesSlide+xml"/>
  <Override PartName="/ppt/tags/tag132.xml" ContentType="application/vnd.openxmlformats-officedocument.presentationml.tags+xml"/>
  <Override PartName="/ppt/notesSlides/notesSlide7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1" r:id="rId1"/>
  </p:sldMasterIdLst>
  <p:notesMasterIdLst>
    <p:notesMasterId r:id="rId23"/>
  </p:notesMasterIdLst>
  <p:handoutMasterIdLst>
    <p:handoutMasterId r:id="rId24"/>
  </p:handoutMasterIdLst>
  <p:sldIdLst>
    <p:sldId id="454" r:id="rId2"/>
    <p:sldId id="470" r:id="rId3"/>
    <p:sldId id="257" r:id="rId4"/>
    <p:sldId id="326" r:id="rId5"/>
    <p:sldId id="522" r:id="rId6"/>
    <p:sldId id="544" r:id="rId7"/>
    <p:sldId id="274" r:id="rId8"/>
    <p:sldId id="478" r:id="rId9"/>
    <p:sldId id="535" r:id="rId10"/>
    <p:sldId id="545" r:id="rId11"/>
    <p:sldId id="550" r:id="rId12"/>
    <p:sldId id="453" r:id="rId13"/>
    <p:sldId id="528" r:id="rId14"/>
    <p:sldId id="458" r:id="rId15"/>
    <p:sldId id="527" r:id="rId16"/>
    <p:sldId id="529" r:id="rId17"/>
    <p:sldId id="549" r:id="rId18"/>
    <p:sldId id="553" r:id="rId19"/>
    <p:sldId id="531" r:id="rId20"/>
    <p:sldId id="551" r:id="rId21"/>
    <p:sldId id="304" r:id="rId22"/>
  </p:sldIdLst>
  <p:sldSz cx="12192000" cy="6858000"/>
  <p:notesSz cx="9236075" cy="6950075"/>
  <p:custShowLst>
    <p:custShow name="Format Guide Workshop" id="0">
      <p:sldLst/>
    </p:custShow>
  </p:custShow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22F2FF5-B6D6-483D-8A77-4E7E7A42B07F}">
          <p14:sldIdLst>
            <p14:sldId id="454"/>
            <p14:sldId id="470"/>
            <p14:sldId id="257"/>
            <p14:sldId id="326"/>
            <p14:sldId id="522"/>
            <p14:sldId id="544"/>
            <p14:sldId id="274"/>
            <p14:sldId id="478"/>
            <p14:sldId id="535"/>
            <p14:sldId id="545"/>
            <p14:sldId id="550"/>
            <p14:sldId id="453"/>
            <p14:sldId id="528"/>
            <p14:sldId id="458"/>
            <p14:sldId id="527"/>
            <p14:sldId id="529"/>
            <p14:sldId id="549"/>
            <p14:sldId id="553"/>
            <p14:sldId id="531"/>
            <p14:sldId id="551"/>
            <p14:sldId id="3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3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EBE60E"/>
    <a:srgbClr val="98A6CC"/>
    <a:srgbClr val="6E6F73"/>
    <a:srgbClr val="595959"/>
    <a:srgbClr val="EB1E0E"/>
    <a:srgbClr val="EB1E8C"/>
    <a:srgbClr val="F6F42E"/>
    <a:srgbClr val="600000"/>
    <a:srgbClr val="005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68" autoAdjust="0"/>
    <p:restoredTop sz="96187" autoAdjust="0"/>
  </p:normalViewPr>
  <p:slideViewPr>
    <p:cSldViewPr snapToGrid="0">
      <p:cViewPr varScale="1">
        <p:scale>
          <a:sx n="118" d="100"/>
          <a:sy n="118" d="100"/>
        </p:scale>
        <p:origin x="348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13934"/>
    </p:cViewPr>
  </p:sorterViewPr>
  <p:notesViewPr>
    <p:cSldViewPr snapToGrid="0">
      <p:cViewPr varScale="1">
        <p:scale>
          <a:sx n="67" d="100"/>
          <a:sy n="67" d="100"/>
        </p:scale>
        <p:origin x="1152" y="4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1641" y="2"/>
            <a:ext cx="4002299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3/15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1641" y="6601367"/>
            <a:ext cx="4002299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6893"/>
            <a:ext cx="9233938" cy="1543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2"/>
            <a:ext cx="3892763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41" y="2"/>
            <a:ext cx="3894897" cy="348711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fld id="{3AD9BDA7-98EF-4344-B91C-30A07E8A84B0}" type="datetimeFigureOut">
              <a:rPr lang="en-US" smtClean="0"/>
              <a:pPr/>
              <a:t>3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4053" y="5490869"/>
            <a:ext cx="8987970" cy="67442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1367"/>
            <a:ext cx="3892763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42" y="6601367"/>
            <a:ext cx="3880382" cy="34871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 panose="020B060302020302020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 panose="020B060302020302020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 panose="020B060302020302020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 panose="020B060302020302020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 panose="020B060302020302020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90" userDrawn="1">
          <p15:clr>
            <a:srgbClr val="F26B43"/>
          </p15:clr>
        </p15:guide>
        <p15:guide id="2" pos="290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865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76096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3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180463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6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9433665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 dirty="0"/>
              <a:t>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3263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9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6187378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bg-BG" dirty="0"/>
              <a:t>Notes view: </a:t>
            </a:r>
            <a:fld id="{128CEAFE-FA94-43E5-B0FF-D47E1CCDD1B4}" type="slidenum">
              <a:rPr lang="bg-BG" smtClean="0"/>
              <a:pPr/>
              <a:t>10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131110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3.xml"/><Relationship Id="rId7" Type="http://schemas.openxmlformats.org/officeDocument/2006/relationships/image" Target="../media/image2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8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1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2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3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1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6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vmlDrawing" Target="../drawings/vmlDrawing57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3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4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166978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66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4000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5223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8467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002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1361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9638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1907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6991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02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36">
            <a:extLst>
              <a:ext uri="{FF2B5EF4-FFF2-40B4-BE49-F238E27FC236}">
                <a16:creationId xmlns:a16="http://schemas.microsoft.com/office/drawing/2014/main" xmlns="" id="{8A72E958-D480-4322-9F07-11667CBB0245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xmlns="" id="{59F43FC9-7AD6-4277-AA28-EA348520C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251325"/>
            <a:ext cx="1052422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13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40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10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29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59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636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46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9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41485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516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030EF7DB-899F-422D-ADC0-F983082F66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251325"/>
            <a:ext cx="1052422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36">
            <a:extLst>
              <a:ext uri="{FF2B5EF4-FFF2-40B4-BE49-F238E27FC236}">
                <a16:creationId xmlns:a16="http://schemas.microsoft.com/office/drawing/2014/main" xmlns="" id="{875C3114-9D14-4DA6-90A8-C6FE1B3763D2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210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82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28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16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71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38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003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699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000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919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995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4613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806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6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925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1610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62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1826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626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6109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117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80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29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82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1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0283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957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24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76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769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9119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77381" y="1115416"/>
            <a:ext cx="275331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59796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2010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1256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8307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204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9492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10931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417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4302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8580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293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71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631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39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70736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47219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56370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945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405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74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84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341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7" imgW="270" imgH="270" progId="TCLayout.ActiveDocument.1">
                  <p:embed/>
                </p:oleObj>
              </mc:Choice>
              <mc:Fallback>
                <p:oleObj name="think-cell Slide" r:id="rId6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79268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2" r:id="rId1"/>
    <p:sldLayoutId id="2147485183" r:id="rId2"/>
    <p:sldLayoutId id="2147485184" r:id="rId3"/>
    <p:sldLayoutId id="2147485185" r:id="rId4"/>
    <p:sldLayoutId id="2147485186" r:id="rId5"/>
    <p:sldLayoutId id="2147485187" r:id="rId6"/>
    <p:sldLayoutId id="2147485188" r:id="rId7"/>
    <p:sldLayoutId id="2147485189" r:id="rId8"/>
    <p:sldLayoutId id="2147485190" r:id="rId9"/>
    <p:sldLayoutId id="2147485191" r:id="rId10"/>
    <p:sldLayoutId id="2147485192" r:id="rId11"/>
    <p:sldLayoutId id="2147485193" r:id="rId12"/>
    <p:sldLayoutId id="2147485194" r:id="rId13"/>
    <p:sldLayoutId id="2147485195" r:id="rId14"/>
    <p:sldLayoutId id="2147485196" r:id="rId15"/>
    <p:sldLayoutId id="2147485197" r:id="rId16"/>
    <p:sldLayoutId id="2147485198" r:id="rId17"/>
    <p:sldLayoutId id="2147485199" r:id="rId18"/>
    <p:sldLayoutId id="2147485200" r:id="rId19"/>
    <p:sldLayoutId id="2147485201" r:id="rId20"/>
    <p:sldLayoutId id="2147485202" r:id="rId21"/>
    <p:sldLayoutId id="2147485203" r:id="rId22"/>
    <p:sldLayoutId id="2147485204" r:id="rId23"/>
    <p:sldLayoutId id="2147485205" r:id="rId24"/>
    <p:sldLayoutId id="2147485206" r:id="rId25"/>
    <p:sldLayoutId id="2147485207" r:id="rId26"/>
    <p:sldLayoutId id="2147485209" r:id="rId27"/>
    <p:sldLayoutId id="2147485210" r:id="rId28"/>
    <p:sldLayoutId id="2147485211" r:id="rId29"/>
    <p:sldLayoutId id="2147485212" r:id="rId30"/>
    <p:sldLayoutId id="2147485213" r:id="rId31"/>
    <p:sldLayoutId id="2147485214" r:id="rId32"/>
    <p:sldLayoutId id="2147485215" r:id="rId33"/>
    <p:sldLayoutId id="2147485216" r:id="rId34"/>
    <p:sldLayoutId id="2147485217" r:id="rId35"/>
    <p:sldLayoutId id="2147485218" r:id="rId36"/>
    <p:sldLayoutId id="2147485219" r:id="rId37"/>
    <p:sldLayoutId id="2147485220" r:id="rId38"/>
    <p:sldLayoutId id="2147485221" r:id="rId39"/>
    <p:sldLayoutId id="2147485222" r:id="rId40"/>
    <p:sldLayoutId id="2147485223" r:id="rId41"/>
    <p:sldLayoutId id="2147485224" r:id="rId42"/>
    <p:sldLayoutId id="2147485225" r:id="rId43"/>
    <p:sldLayoutId id="2147485226" r:id="rId44"/>
    <p:sldLayoutId id="2147485227" r:id="rId45"/>
    <p:sldLayoutId id="2147485228" r:id="rId46"/>
    <p:sldLayoutId id="2147485229" r:id="rId47"/>
    <p:sldLayoutId id="2147485230" r:id="rId48"/>
    <p:sldLayoutId id="2147485231" r:id="rId49"/>
    <p:sldLayoutId id="2147485232" r:id="rId50"/>
    <p:sldLayoutId id="2147485233" r:id="rId51"/>
    <p:sldLayoutId id="2147485234" r:id="rId52"/>
    <p:sldLayoutId id="2147485235" r:id="rId53"/>
    <p:sldLayoutId id="2147485236" r:id="rId54"/>
    <p:sldLayoutId id="2147485238" r:id="rId55"/>
    <p:sldLayoutId id="2147485239" r:id="rId56"/>
    <p:sldLayoutId id="2147485240" r:id="rId57"/>
    <p:sldLayoutId id="2147485241" r:id="rId58"/>
    <p:sldLayoutId id="2147485242" r:id="rId59"/>
    <p:sldLayoutId id="2147485243" r:id="rId60"/>
    <p:sldLayoutId id="2147485244" r:id="rId61"/>
    <p:sldLayoutId id="2147485245" r:id="rId62"/>
    <p:sldLayoutId id="2147485246" r:id="rId6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2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7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8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6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0.jpeg"/><Relationship Id="rId2" Type="http://schemas.openxmlformats.org/officeDocument/2006/relationships/tags" Target="../tags/tag134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&#1095;&#1077;&#1089;&#1090;&#1085;&#1099;&#1081;&#1079;&#1085;&#1072;&#1082;.&#1088;&#1092;/" TargetMode="External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6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8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7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tags" Target="../tags/tag120.xml"/><Relationship Id="rId7" Type="http://schemas.openxmlformats.org/officeDocument/2006/relationships/image" Target="../media/image16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crpt.ru/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&#1095;&#1077;&#1089;&#1090;&#1085;&#1099;&#1081;&#1079;&#1085;&#1072;&#1082;.&#1088;&#1092;/" TargetMode="External"/><Relationship Id="rId2" Type="http://schemas.openxmlformats.org/officeDocument/2006/relationships/tags" Target="../tags/tag138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9.jpe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81.bin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9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tags" Target="../tags/tag123.xml"/><Relationship Id="rId7" Type="http://schemas.openxmlformats.org/officeDocument/2006/relationships/image" Target="../media/image22.emf"/><Relationship Id="rId12" Type="http://schemas.openxmlformats.org/officeDocument/2006/relationships/image" Target="../media/image27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hyperlink" Target="https://regulation.gov.ru/projects" TargetMode="External"/><Relationship Id="rId2" Type="http://schemas.openxmlformats.org/officeDocument/2006/relationships/tags" Target="../tags/tag124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6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26.xml"/><Relationship Id="rId7" Type="http://schemas.openxmlformats.org/officeDocument/2006/relationships/image" Target="../media/image5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2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tags" Target="../tags/tag128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png"/><Relationship Id="rId11" Type="http://schemas.openxmlformats.org/officeDocument/2006/relationships/image" Target="../media/image37.png"/><Relationship Id="rId5" Type="http://schemas.openxmlformats.org/officeDocument/2006/relationships/image" Target="../media/image30.emf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72.bin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45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852531" y="2384351"/>
            <a:ext cx="9425782" cy="1228500"/>
          </a:xfrm>
        </p:spPr>
        <p:txBody>
          <a:bodyPr/>
          <a:lstStyle/>
          <a:p>
            <a:r>
              <a:rPr lang="ru-RU" sz="3200" dirty="0"/>
              <a:t>Национальная система цифровой  </a:t>
            </a:r>
            <a:br>
              <a:rPr lang="ru-RU" sz="3200" dirty="0"/>
            </a:br>
            <a:r>
              <a:rPr lang="ru-RU" sz="3200" dirty="0"/>
              <a:t>маркировки и прослеживания сигарет</a:t>
            </a:r>
            <a:br>
              <a:rPr lang="ru-RU" sz="3200" dirty="0"/>
            </a:br>
            <a:r>
              <a:rPr lang="ru-RU" sz="3200" dirty="0"/>
              <a:t/>
            </a:r>
            <a:br>
              <a:rPr lang="ru-RU" sz="3200" dirty="0"/>
            </a:b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4224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11131826" y="6211957"/>
            <a:ext cx="924339" cy="48701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sz="1200" dirty="0">
              <a:solidFill>
                <a:srgbClr val="FFFFFF"/>
              </a:solidFill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53" name="Oval 16"/>
          <p:cNvSpPr>
            <a:spLocks noChangeArrowheads="1"/>
          </p:cNvSpPr>
          <p:nvPr/>
        </p:nvSpPr>
        <p:spPr bwMode="auto">
          <a:xfrm>
            <a:off x="9017000" y="5350669"/>
            <a:ext cx="571500" cy="5715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050">
                    <a:lumMod val="100000"/>
                  </a:srgbClr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bg-BG" dirty="0"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54" name="Freeform 17"/>
          <p:cNvSpPr>
            <a:spLocks/>
          </p:cNvSpPr>
          <p:nvPr/>
        </p:nvSpPr>
        <p:spPr bwMode="auto">
          <a:xfrm>
            <a:off x="9086852" y="5426550"/>
            <a:ext cx="431798" cy="416376"/>
          </a:xfrm>
          <a:custGeom>
            <a:avLst/>
            <a:gdLst>
              <a:gd name="T0" fmla="*/ 36 w 84"/>
              <a:gd name="T1" fmla="*/ 67 h 81"/>
              <a:gd name="T2" fmla="*/ 7 w 84"/>
              <a:gd name="T3" fmla="*/ 39 h 81"/>
              <a:gd name="T4" fmla="*/ 0 w 84"/>
              <a:gd name="T5" fmla="*/ 45 h 81"/>
              <a:gd name="T6" fmla="*/ 38 w 84"/>
              <a:gd name="T7" fmla="*/ 81 h 81"/>
              <a:gd name="T8" fmla="*/ 84 w 84"/>
              <a:gd name="T9" fmla="*/ 4 h 81"/>
              <a:gd name="T10" fmla="*/ 76 w 84"/>
              <a:gd name="T11" fmla="*/ 0 h 81"/>
              <a:gd name="T12" fmla="*/ 36 w 84"/>
              <a:gd name="T13" fmla="*/ 67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81">
                <a:moveTo>
                  <a:pt x="36" y="67"/>
                </a:moveTo>
                <a:lnTo>
                  <a:pt x="7" y="39"/>
                </a:lnTo>
                <a:lnTo>
                  <a:pt x="0" y="45"/>
                </a:lnTo>
                <a:lnTo>
                  <a:pt x="38" y="81"/>
                </a:lnTo>
                <a:lnTo>
                  <a:pt x="84" y="4"/>
                </a:lnTo>
                <a:lnTo>
                  <a:pt x="76" y="0"/>
                </a:lnTo>
                <a:lnTo>
                  <a:pt x="36" y="67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bg-BG" dirty="0"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xmlns="" id="{0B14C8E0-C14C-D748-B1FA-E3B8C3468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598" y="330041"/>
            <a:ext cx="10524228" cy="299184"/>
          </a:xfrm>
        </p:spPr>
        <p:txBody>
          <a:bodyPr/>
          <a:lstStyle/>
          <a:p>
            <a:r>
              <a:rPr lang="ru-RU" sz="2160" b="1" dirty="0"/>
              <a:t>Пилотный проект по маркировке табачной продукции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D724C66D-35CB-4C86-805B-F3D55076C0F8}"/>
              </a:ext>
            </a:extLst>
          </p:cNvPr>
          <p:cNvSpPr/>
          <p:nvPr/>
        </p:nvSpPr>
        <p:spPr>
          <a:xfrm>
            <a:off x="181970" y="1473551"/>
            <a:ext cx="11828060" cy="1724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олее 2 200 участников зарегистрировано 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олее 180 млн пачек</a:t>
            </a:r>
            <a:r>
              <a:rPr lang="ru-RU" sz="2000" b="1" dirty="0">
                <a:solidFill>
                  <a:srgbClr val="59595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продукции промаркировано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59595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Более 1,9 млн пачек продано в розницу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bg-BG" sz="2000" b="1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  <a:sym typeface="PT Sans Caption" panose="020B0603020203020204" pitchFamily="34" charset="0"/>
              </a:rPr>
              <a:t>Мобильное приложение – инструмент гражданского контроля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bg-BG" sz="2000" b="1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  <a:sym typeface="PT Sans Caption" panose="020B0603020203020204" pitchFamily="34" charset="0"/>
              </a:rPr>
              <a:t>В проекте участвуют производители, которые выпускают более 90% сигарет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F682B91-12BE-413A-96E8-0F88312499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3135" y="3660132"/>
            <a:ext cx="5238750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630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>
            <a:extLst>
              <a:ext uri="{FF2B5EF4-FFF2-40B4-BE49-F238E27FC236}">
                <a16:creationId xmlns:a16="http://schemas.microsoft.com/office/drawing/2014/main" xmlns="" id="{0B14C8E0-C14C-D748-B1FA-E3B8C3468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598" y="330041"/>
            <a:ext cx="10524228" cy="299184"/>
          </a:xfrm>
        </p:spPr>
        <p:txBody>
          <a:bodyPr/>
          <a:lstStyle/>
          <a:p>
            <a:r>
              <a:rPr lang="ru-RU" sz="2160" b="1" dirty="0"/>
              <a:t>Общественный контроль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5DD5F9C-1E9E-406C-9100-0CAE96DE20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5225" y="1805260"/>
            <a:ext cx="9661549" cy="5052740"/>
          </a:xfrm>
          <a:prstGeom prst="rect">
            <a:avLst/>
          </a:prstGeom>
        </p:spPr>
      </p:pic>
      <p:sp>
        <p:nvSpPr>
          <p:cNvPr id="11" name="Другие виды продукции – эксперимент, внедрение маркировки.">
            <a:extLst>
              <a:ext uri="{FF2B5EF4-FFF2-40B4-BE49-F238E27FC236}">
                <a16:creationId xmlns:a16="http://schemas.microsoft.com/office/drawing/2014/main" xmlns="" id="{0CEE240C-5B13-4BB4-A22F-E6AC2EE5090B}"/>
              </a:ext>
            </a:extLst>
          </p:cNvPr>
          <p:cNvSpPr txBox="1"/>
          <p:nvPr/>
        </p:nvSpPr>
        <p:spPr>
          <a:xfrm>
            <a:off x="1079980" y="1225499"/>
            <a:ext cx="10032037" cy="4749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/>
          </a:bodyPr>
          <a:lstStyle>
            <a:lvl1pPr marL="180473" indent="-180473" defTabSz="895773">
              <a:lnSpc>
                <a:spcPct val="90000"/>
              </a:lnSpc>
              <a:buSzPct val="100000"/>
              <a:buChar char="•"/>
              <a:defRPr sz="1400" b="1">
                <a:solidFill>
                  <a:srgbClr val="58595B"/>
                </a:solidFill>
              </a:defRPr>
            </a:lvl1pPr>
          </a:lstStyle>
          <a:p>
            <a:pPr marL="0" indent="0" algn="ctr">
              <a:buNone/>
            </a:pPr>
            <a:r>
              <a:rPr lang="ru-RU" sz="1800" dirty="0"/>
              <a:t>Мобильное приложение Честный ЗНАК</a:t>
            </a:r>
          </a:p>
        </p:txBody>
      </p:sp>
    </p:spTree>
    <p:extLst>
      <p:ext uri="{BB962C8B-B14F-4D97-AF65-F5344CB8AC3E}">
        <p14:creationId xmlns:p14="http://schemas.microsoft.com/office/powerpoint/2010/main" val="11766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Регистрация производителей табачной продукции в информационной системе">
            <a:extLst>
              <a:ext uri="{FF2B5EF4-FFF2-40B4-BE49-F238E27FC236}">
                <a16:creationId xmlns:a16="http://schemas.microsoft.com/office/drawing/2014/main" xmlns="" id="{EC9F1575-A128-DD43-9D5D-7CF257ADF3EA}"/>
              </a:ext>
            </a:extLst>
          </p:cNvPr>
          <p:cNvSpPr txBox="1"/>
          <p:nvPr/>
        </p:nvSpPr>
        <p:spPr>
          <a:xfrm>
            <a:off x="3262669" y="3107753"/>
            <a:ext cx="2631103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sz="1600" b="1" dirty="0" err="1"/>
              <a:t>Регистрация</a:t>
            </a:r>
            <a:r>
              <a:rPr sz="1600" b="1" dirty="0"/>
              <a:t> </a:t>
            </a:r>
            <a:r>
              <a:rPr lang="ru-RU" sz="1600" b="1" dirty="0"/>
              <a:t>100% </a:t>
            </a:r>
            <a:r>
              <a:rPr sz="1600" b="1" dirty="0" err="1"/>
              <a:t>производителей</a:t>
            </a:r>
            <a:r>
              <a:rPr sz="1600" dirty="0"/>
              <a:t> </a:t>
            </a:r>
            <a:r>
              <a:rPr sz="1600" dirty="0" err="1"/>
              <a:t>табачной</a:t>
            </a:r>
            <a:r>
              <a:rPr sz="1600" dirty="0"/>
              <a:t> </a:t>
            </a:r>
            <a:r>
              <a:rPr sz="1600" dirty="0" err="1"/>
              <a:t>продукции</a:t>
            </a:r>
            <a:r>
              <a:rPr sz="1600" dirty="0"/>
              <a:t> </a:t>
            </a:r>
            <a:r>
              <a:rPr sz="1600" b="1" dirty="0"/>
              <a:t>в </a:t>
            </a:r>
            <a:r>
              <a:rPr sz="1600" dirty="0" err="1"/>
              <a:t>информационной</a:t>
            </a:r>
            <a:r>
              <a:rPr sz="1600" dirty="0"/>
              <a:t> </a:t>
            </a:r>
            <a:r>
              <a:rPr sz="1600" dirty="0" err="1"/>
              <a:t>системе</a:t>
            </a:r>
            <a:endParaRPr sz="1600" dirty="0"/>
          </a:p>
        </p:txBody>
      </p:sp>
      <p:sp>
        <p:nvSpPr>
          <p:cNvPr id="11" name="Прекращение выпуска не маркированной продукции. Регистрация первой продажи продукции производителем. Регистрация продажи маркированной продукции конечным потребителям в ККТ">
            <a:extLst>
              <a:ext uri="{FF2B5EF4-FFF2-40B4-BE49-F238E27FC236}">
                <a16:creationId xmlns:a16="http://schemas.microsoft.com/office/drawing/2014/main" xmlns="" id="{42BC86D4-EB12-CC43-A053-70BF09F7FAAA}"/>
              </a:ext>
            </a:extLst>
          </p:cNvPr>
          <p:cNvSpPr txBox="1"/>
          <p:nvPr/>
        </p:nvSpPr>
        <p:spPr>
          <a:xfrm>
            <a:off x="6329559" y="3038033"/>
            <a:ext cx="2631103" cy="19697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sz="1600" dirty="0" err="1"/>
              <a:t>Прекращение</a:t>
            </a:r>
            <a:r>
              <a:rPr sz="1600" dirty="0"/>
              <a:t> </a:t>
            </a:r>
            <a:r>
              <a:rPr sz="1600" dirty="0" err="1"/>
              <a:t>выпуска</a:t>
            </a:r>
            <a:r>
              <a:rPr sz="1600" dirty="0"/>
              <a:t> </a:t>
            </a:r>
            <a:r>
              <a:rPr sz="1600" dirty="0" err="1"/>
              <a:t>не</a:t>
            </a:r>
            <a:r>
              <a:rPr sz="1600" dirty="0"/>
              <a:t> </a:t>
            </a:r>
            <a:r>
              <a:rPr sz="1600" dirty="0" err="1"/>
              <a:t>маркированной</a:t>
            </a:r>
            <a:r>
              <a:rPr sz="1600" dirty="0"/>
              <a:t> </a:t>
            </a:r>
            <a:r>
              <a:rPr sz="1600" dirty="0" err="1"/>
              <a:t>продукции</a:t>
            </a:r>
            <a:r>
              <a:rPr sz="1600" dirty="0"/>
              <a:t>. </a:t>
            </a:r>
            <a:r>
              <a:rPr sz="1600" b="1" dirty="0" err="1"/>
              <a:t>Регистрация</a:t>
            </a:r>
            <a:r>
              <a:rPr sz="1600" dirty="0"/>
              <a:t> </a:t>
            </a:r>
            <a:r>
              <a:rPr sz="1600" dirty="0" err="1"/>
              <a:t>первой</a:t>
            </a:r>
            <a:r>
              <a:rPr sz="1600" dirty="0"/>
              <a:t>. </a:t>
            </a:r>
            <a:endParaRPr lang="ru-RU" sz="1600" dirty="0"/>
          </a:p>
          <a:p>
            <a:pPr defTabSz="895773">
              <a:defRPr sz="1200">
                <a:solidFill>
                  <a:srgbClr val="58595B"/>
                </a:solidFill>
              </a:defRPr>
            </a:pPr>
            <a:endParaRPr lang="ru-RU" sz="1600" dirty="0"/>
          </a:p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sz="1600" dirty="0" err="1"/>
              <a:t>Регистрация</a:t>
            </a:r>
            <a:r>
              <a:rPr sz="1600" dirty="0"/>
              <a:t> </a:t>
            </a:r>
            <a:r>
              <a:rPr sz="1600" dirty="0" err="1"/>
              <a:t>продажи</a:t>
            </a:r>
            <a:r>
              <a:rPr sz="1600" dirty="0"/>
              <a:t> </a:t>
            </a:r>
            <a:r>
              <a:rPr sz="1600" dirty="0" err="1"/>
              <a:t>маркированной</a:t>
            </a:r>
            <a:r>
              <a:rPr sz="1600" dirty="0"/>
              <a:t> </a:t>
            </a:r>
            <a:r>
              <a:rPr sz="1600" dirty="0" err="1"/>
              <a:t>продукции</a:t>
            </a:r>
            <a:r>
              <a:rPr sz="1600" dirty="0"/>
              <a:t> </a:t>
            </a:r>
            <a:r>
              <a:rPr sz="1600" dirty="0" err="1"/>
              <a:t>конечным</a:t>
            </a:r>
            <a:r>
              <a:rPr sz="1600" dirty="0"/>
              <a:t> </a:t>
            </a:r>
            <a:r>
              <a:rPr sz="1600" dirty="0" err="1"/>
              <a:t>потребителям</a:t>
            </a:r>
            <a:r>
              <a:rPr sz="1600" dirty="0"/>
              <a:t> </a:t>
            </a:r>
            <a:r>
              <a:rPr lang="ru-RU" sz="1600" dirty="0"/>
              <a:t>при помощи</a:t>
            </a:r>
            <a:r>
              <a:rPr sz="1600" dirty="0"/>
              <a:t> ККТ</a:t>
            </a:r>
          </a:p>
        </p:txBody>
      </p:sp>
      <p:sp>
        <p:nvSpPr>
          <p:cNvPr id="12" name="Регистрация оптового оборота табачной продукции. Прекращение оборота не маркированной продукции.">
            <a:extLst>
              <a:ext uri="{FF2B5EF4-FFF2-40B4-BE49-F238E27FC236}">
                <a16:creationId xmlns:a16="http://schemas.microsoft.com/office/drawing/2014/main" xmlns="" id="{AFAB6B32-7987-4643-B657-3E25754F3721}"/>
              </a:ext>
            </a:extLst>
          </p:cNvPr>
          <p:cNvSpPr txBox="1"/>
          <p:nvPr/>
        </p:nvSpPr>
        <p:spPr>
          <a:xfrm>
            <a:off x="9396449" y="3038033"/>
            <a:ext cx="2631103" cy="12311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sz="1600" b="1" dirty="0" err="1"/>
              <a:t>Регистрация</a:t>
            </a:r>
            <a:r>
              <a:rPr sz="1600" dirty="0"/>
              <a:t> </a:t>
            </a:r>
            <a:r>
              <a:rPr sz="1600" b="1" dirty="0" err="1"/>
              <a:t>оптового</a:t>
            </a:r>
            <a:r>
              <a:rPr sz="1600" b="1" dirty="0"/>
              <a:t> </a:t>
            </a:r>
            <a:r>
              <a:rPr sz="1600" b="1" dirty="0" err="1"/>
              <a:t>оборота</a:t>
            </a:r>
            <a:r>
              <a:rPr sz="1600" dirty="0"/>
              <a:t> </a:t>
            </a:r>
            <a:r>
              <a:rPr sz="1600" dirty="0" err="1"/>
              <a:t>табачной</a:t>
            </a:r>
            <a:r>
              <a:rPr sz="1600" dirty="0"/>
              <a:t> </a:t>
            </a:r>
            <a:r>
              <a:rPr sz="1600" dirty="0" err="1"/>
              <a:t>продукции</a:t>
            </a:r>
            <a:r>
              <a:rPr sz="1600" dirty="0"/>
              <a:t>. </a:t>
            </a:r>
            <a:r>
              <a:rPr sz="1600" dirty="0" err="1"/>
              <a:t>Прекращение</a:t>
            </a:r>
            <a:r>
              <a:rPr sz="1600" dirty="0"/>
              <a:t> </a:t>
            </a:r>
            <a:r>
              <a:rPr sz="1600" dirty="0" err="1"/>
              <a:t>оборота</a:t>
            </a:r>
            <a:r>
              <a:rPr sz="1600" dirty="0"/>
              <a:t> </a:t>
            </a:r>
            <a:r>
              <a:rPr sz="1600" dirty="0" err="1"/>
              <a:t>не</a:t>
            </a:r>
            <a:r>
              <a:rPr sz="1600" dirty="0"/>
              <a:t> </a:t>
            </a:r>
            <a:r>
              <a:rPr sz="1600" dirty="0" err="1"/>
              <a:t>маркированной</a:t>
            </a:r>
            <a:r>
              <a:rPr sz="1600" dirty="0"/>
              <a:t> </a:t>
            </a:r>
            <a:r>
              <a:rPr sz="1600" dirty="0" err="1"/>
              <a:t>продукции</a:t>
            </a:r>
            <a:r>
              <a:rPr sz="1600" dirty="0"/>
              <a:t>.</a:t>
            </a:r>
          </a:p>
        </p:txBody>
      </p:sp>
      <p:sp>
        <p:nvSpPr>
          <p:cNvPr id="13" name="I этап">
            <a:extLst>
              <a:ext uri="{FF2B5EF4-FFF2-40B4-BE49-F238E27FC236}">
                <a16:creationId xmlns:a16="http://schemas.microsoft.com/office/drawing/2014/main" xmlns="" id="{AC028738-A6BE-414D-8D62-915DB6B4AEE1}"/>
              </a:ext>
            </a:extLst>
          </p:cNvPr>
          <p:cNvSpPr txBox="1"/>
          <p:nvPr/>
        </p:nvSpPr>
        <p:spPr>
          <a:xfrm>
            <a:off x="109495" y="2101441"/>
            <a:ext cx="233174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773">
              <a:defRPr sz="1600" b="1">
                <a:solidFill>
                  <a:srgbClr val="98A6CC"/>
                </a:solidFill>
              </a:defRPr>
            </a:lvl1pPr>
          </a:lstStyle>
          <a:p>
            <a:r>
              <a:rPr lang="ru-RU" dirty="0"/>
              <a:t>28 февраля </a:t>
            </a:r>
          </a:p>
          <a:p>
            <a:r>
              <a:rPr lang="ru-RU" dirty="0"/>
              <a:t>2019 года</a:t>
            </a:r>
            <a:endParaRPr dirty="0"/>
          </a:p>
        </p:txBody>
      </p:sp>
      <p:sp>
        <p:nvSpPr>
          <p:cNvPr id="14" name="II этап">
            <a:extLst>
              <a:ext uri="{FF2B5EF4-FFF2-40B4-BE49-F238E27FC236}">
                <a16:creationId xmlns:a16="http://schemas.microsoft.com/office/drawing/2014/main" xmlns="" id="{3CF9C88E-E4A2-8C48-83AD-4FE6B923A570}"/>
              </a:ext>
            </a:extLst>
          </p:cNvPr>
          <p:cNvSpPr txBox="1"/>
          <p:nvPr/>
        </p:nvSpPr>
        <p:spPr>
          <a:xfrm>
            <a:off x="3235216" y="2109900"/>
            <a:ext cx="2331739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773">
              <a:defRPr sz="1600" b="1">
                <a:solidFill>
                  <a:srgbClr val="98A6CC"/>
                </a:solidFill>
              </a:defRPr>
            </a:lvl1pPr>
          </a:lstStyle>
          <a:p>
            <a:r>
              <a:rPr lang="en-US" dirty="0"/>
              <a:t>1 </a:t>
            </a:r>
            <a:r>
              <a:rPr lang="ru-RU" dirty="0"/>
              <a:t>марта </a:t>
            </a:r>
          </a:p>
          <a:p>
            <a:r>
              <a:rPr lang="ru-RU" dirty="0"/>
              <a:t>2019 года</a:t>
            </a:r>
            <a:endParaRPr dirty="0"/>
          </a:p>
        </p:txBody>
      </p:sp>
      <p:sp>
        <p:nvSpPr>
          <p:cNvPr id="15" name="III этап">
            <a:extLst>
              <a:ext uri="{FF2B5EF4-FFF2-40B4-BE49-F238E27FC236}">
                <a16:creationId xmlns:a16="http://schemas.microsoft.com/office/drawing/2014/main" xmlns="" id="{321C219F-6333-5B45-9149-EC4C61470E31}"/>
              </a:ext>
            </a:extLst>
          </p:cNvPr>
          <p:cNvSpPr txBox="1"/>
          <p:nvPr/>
        </p:nvSpPr>
        <p:spPr>
          <a:xfrm>
            <a:off x="6238595" y="2106745"/>
            <a:ext cx="2331739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773">
              <a:defRPr sz="1600" b="1">
                <a:solidFill>
                  <a:srgbClr val="98A6CC"/>
                </a:solidFill>
              </a:defRPr>
            </a:lvl1pPr>
          </a:lstStyle>
          <a:p>
            <a:r>
              <a:rPr lang="ru-RU" dirty="0"/>
              <a:t>1 июля </a:t>
            </a:r>
          </a:p>
          <a:p>
            <a:r>
              <a:rPr lang="ru-RU" dirty="0"/>
              <a:t>2019 года</a:t>
            </a:r>
            <a:endParaRPr dirty="0"/>
          </a:p>
        </p:txBody>
      </p:sp>
      <p:sp>
        <p:nvSpPr>
          <p:cNvPr id="16" name="IV этап">
            <a:extLst>
              <a:ext uri="{FF2B5EF4-FFF2-40B4-BE49-F238E27FC236}">
                <a16:creationId xmlns:a16="http://schemas.microsoft.com/office/drawing/2014/main" xmlns="" id="{55837CC8-0C9A-1049-8F5F-039E7150D87E}"/>
              </a:ext>
            </a:extLst>
          </p:cNvPr>
          <p:cNvSpPr txBox="1"/>
          <p:nvPr/>
        </p:nvSpPr>
        <p:spPr>
          <a:xfrm>
            <a:off x="9400790" y="2109901"/>
            <a:ext cx="2331739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773">
              <a:defRPr sz="1600" b="1">
                <a:solidFill>
                  <a:srgbClr val="98A6CC"/>
                </a:solidFill>
              </a:defRPr>
            </a:lvl1pPr>
          </a:lstStyle>
          <a:p>
            <a:r>
              <a:rPr lang="ru-RU" dirty="0"/>
              <a:t>1 июля </a:t>
            </a:r>
          </a:p>
          <a:p>
            <a:r>
              <a:rPr lang="ru-RU" dirty="0"/>
              <a:t>2020 года</a:t>
            </a:r>
            <a:endParaRPr dirty="0"/>
          </a:p>
        </p:txBody>
      </p:sp>
      <p:sp>
        <p:nvSpPr>
          <p:cNvPr id="17" name="Сигареты, папиросы (ТНВЭД 2402 20, ОКПД2 12.00.11.130,12.00.11.14)">
            <a:extLst>
              <a:ext uri="{FF2B5EF4-FFF2-40B4-BE49-F238E27FC236}">
                <a16:creationId xmlns:a16="http://schemas.microsoft.com/office/drawing/2014/main" xmlns="" id="{C0E93EC3-9417-5E40-A3A6-619715F98D0C}"/>
              </a:ext>
            </a:extLst>
          </p:cNvPr>
          <p:cNvSpPr txBox="1"/>
          <p:nvPr/>
        </p:nvSpPr>
        <p:spPr>
          <a:xfrm>
            <a:off x="669290" y="1377676"/>
            <a:ext cx="10445646" cy="4749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/>
          </a:bodyPr>
          <a:lstStyle>
            <a:lvl1pPr marL="180473" indent="-180473" defTabSz="895773">
              <a:lnSpc>
                <a:spcPct val="90000"/>
              </a:lnSpc>
              <a:buSzPct val="100000"/>
              <a:buChar char="•"/>
              <a:defRPr sz="1400" b="1">
                <a:solidFill>
                  <a:srgbClr val="58595B"/>
                </a:solidFill>
              </a:defRPr>
            </a:lvl1pPr>
          </a:lstStyle>
          <a:p>
            <a:r>
              <a:rPr dirty="0" err="1"/>
              <a:t>Сигареты</a:t>
            </a:r>
            <a:r>
              <a:rPr dirty="0"/>
              <a:t>, </a:t>
            </a:r>
            <a:r>
              <a:rPr dirty="0" err="1"/>
              <a:t>папиросы</a:t>
            </a:r>
            <a:r>
              <a:rPr dirty="0"/>
              <a:t> (ТНВЭД 2402 20, ОКПД2 12.00.11.130,12.00.11.14)</a:t>
            </a:r>
          </a:p>
        </p:txBody>
      </p:sp>
      <p:sp>
        <p:nvSpPr>
          <p:cNvPr id="18" name="Другие виды продукции – эксперимент, внедрение маркировки.">
            <a:extLst>
              <a:ext uri="{FF2B5EF4-FFF2-40B4-BE49-F238E27FC236}">
                <a16:creationId xmlns:a16="http://schemas.microsoft.com/office/drawing/2014/main" xmlns="" id="{3965858B-9C8C-2149-8E57-096B6B059C19}"/>
              </a:ext>
            </a:extLst>
          </p:cNvPr>
          <p:cNvSpPr txBox="1"/>
          <p:nvPr/>
        </p:nvSpPr>
        <p:spPr>
          <a:xfrm>
            <a:off x="876095" y="6155847"/>
            <a:ext cx="10032037" cy="4749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/>
          </a:bodyPr>
          <a:lstStyle>
            <a:lvl1pPr marL="180473" indent="-180473" defTabSz="895773">
              <a:lnSpc>
                <a:spcPct val="90000"/>
              </a:lnSpc>
              <a:buSzPct val="100000"/>
              <a:buChar char="•"/>
              <a:defRPr sz="1400" b="1">
                <a:solidFill>
                  <a:srgbClr val="58595B"/>
                </a:solidFill>
              </a:defRPr>
            </a:lvl1pPr>
          </a:lstStyle>
          <a:p>
            <a:r>
              <a:rPr lang="ru-RU" dirty="0"/>
              <a:t>Даты запуска предварительные. Точные даты будут определены в марте 2019 года после выпуска нормативных документов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BC6F4560-1BD9-C247-AF7E-A51AB0C47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035" y="410899"/>
            <a:ext cx="10524228" cy="299184"/>
          </a:xfrm>
        </p:spPr>
        <p:txBody>
          <a:bodyPr/>
          <a:lstStyle/>
          <a:p>
            <a:r>
              <a:rPr lang="ru-RU" sz="2160" b="1" dirty="0"/>
              <a:t>Порядок внедрения обязательной маркировки</a:t>
            </a:r>
          </a:p>
        </p:txBody>
      </p:sp>
      <p:sp>
        <p:nvSpPr>
          <p:cNvPr id="20" name="Регистрация оптового оборота табачной продукции. Прекращение оборота не маркированной продукции.">
            <a:extLst>
              <a:ext uri="{FF2B5EF4-FFF2-40B4-BE49-F238E27FC236}">
                <a16:creationId xmlns:a16="http://schemas.microsoft.com/office/drawing/2014/main" xmlns="" id="{7BA03041-30E1-4256-B4C0-742ED361115E}"/>
              </a:ext>
            </a:extLst>
          </p:cNvPr>
          <p:cNvSpPr txBox="1"/>
          <p:nvPr/>
        </p:nvSpPr>
        <p:spPr>
          <a:xfrm>
            <a:off x="195779" y="3087875"/>
            <a:ext cx="2631103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600" b="1" dirty="0"/>
              <a:t>Окончание пилотного проекта. </a:t>
            </a:r>
          </a:p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600" dirty="0"/>
              <a:t>Составление нормативной документации</a:t>
            </a:r>
            <a:endParaRPr sz="1600" dirty="0"/>
          </a:p>
        </p:txBody>
      </p:sp>
      <p:sp>
        <p:nvSpPr>
          <p:cNvPr id="21" name="Другие виды продукции – эксперимент, внедрение маркировки.">
            <a:extLst>
              <a:ext uri="{FF2B5EF4-FFF2-40B4-BE49-F238E27FC236}">
                <a16:creationId xmlns:a16="http://schemas.microsoft.com/office/drawing/2014/main" xmlns="" id="{EE9A4773-CCAF-4A1F-8587-F6576B57D5A9}"/>
              </a:ext>
            </a:extLst>
          </p:cNvPr>
          <p:cNvSpPr txBox="1"/>
          <p:nvPr/>
        </p:nvSpPr>
        <p:spPr>
          <a:xfrm>
            <a:off x="876095" y="5581190"/>
            <a:ext cx="10032037" cy="4749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/>
          </a:bodyPr>
          <a:lstStyle>
            <a:lvl1pPr marL="180473" indent="-180473" defTabSz="895773">
              <a:lnSpc>
                <a:spcPct val="90000"/>
              </a:lnSpc>
              <a:buSzPct val="100000"/>
              <a:buChar char="•"/>
              <a:defRPr sz="1400" b="1">
                <a:solidFill>
                  <a:srgbClr val="58595B"/>
                </a:solidFill>
              </a:defRPr>
            </a:lvl1pPr>
          </a:lstStyle>
          <a:p>
            <a:r>
              <a:rPr lang="ru-RU" dirty="0"/>
              <a:t>Другие виды продукции – эксперимент и последующее внедрение маркировки</a:t>
            </a:r>
          </a:p>
        </p:txBody>
      </p:sp>
      <p:sp>
        <p:nvSpPr>
          <p:cNvPr id="7" name="Стрелка: шеврон 6">
            <a:extLst>
              <a:ext uri="{FF2B5EF4-FFF2-40B4-BE49-F238E27FC236}">
                <a16:creationId xmlns:a16="http://schemas.microsoft.com/office/drawing/2014/main" xmlns="" id="{E062E031-2B98-47F0-B261-888136F1F614}"/>
              </a:ext>
            </a:extLst>
          </p:cNvPr>
          <p:cNvSpPr/>
          <p:nvPr/>
        </p:nvSpPr>
        <p:spPr>
          <a:xfrm>
            <a:off x="2717821" y="2142692"/>
            <a:ext cx="363150" cy="500990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7" name="Стрелка: шеврон 26">
            <a:extLst>
              <a:ext uri="{FF2B5EF4-FFF2-40B4-BE49-F238E27FC236}">
                <a16:creationId xmlns:a16="http://schemas.microsoft.com/office/drawing/2014/main" xmlns="" id="{1DBF7B3B-D6B6-466C-9FD1-CC0172E23E80}"/>
              </a:ext>
            </a:extLst>
          </p:cNvPr>
          <p:cNvSpPr/>
          <p:nvPr/>
        </p:nvSpPr>
        <p:spPr>
          <a:xfrm>
            <a:off x="5696155" y="2142692"/>
            <a:ext cx="363150" cy="500990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Стрелка: шеврон 27">
            <a:extLst>
              <a:ext uri="{FF2B5EF4-FFF2-40B4-BE49-F238E27FC236}">
                <a16:creationId xmlns:a16="http://schemas.microsoft.com/office/drawing/2014/main" xmlns="" id="{D64C186A-4AE7-4979-9498-DDCD816737C1}"/>
              </a:ext>
            </a:extLst>
          </p:cNvPr>
          <p:cNvSpPr/>
          <p:nvPr/>
        </p:nvSpPr>
        <p:spPr>
          <a:xfrm>
            <a:off x="8878824" y="2142692"/>
            <a:ext cx="363150" cy="500990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98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xmlns="" id="{609BB936-AC7D-844D-9AF0-762782BAD06E}"/>
              </a:ext>
            </a:extLst>
          </p:cNvPr>
          <p:cNvSpPr txBox="1">
            <a:spLocks/>
          </p:cNvSpPr>
          <p:nvPr/>
        </p:nvSpPr>
        <p:spPr>
          <a:xfrm>
            <a:off x="703890" y="429301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Требования к производителям</a:t>
            </a:r>
            <a:endParaRPr lang="en-US" sz="216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B0F33F2-2B51-4B16-98B4-2C7263C08B59}"/>
              </a:ext>
            </a:extLst>
          </p:cNvPr>
          <p:cNvSpPr txBox="1"/>
          <p:nvPr/>
        </p:nvSpPr>
        <p:spPr>
          <a:xfrm>
            <a:off x="603507" y="1044655"/>
            <a:ext cx="11390243" cy="19389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На производства бесплатно устанавливаютс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регистраторы эмиссии</a:t>
            </a:r>
          </a:p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Регистратор эмиссии осуществляет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рипто-шифрование каждого полученного кода</a:t>
            </a:r>
          </a:p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Благодаря крипто-защите код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невозможно подделать  </a:t>
            </a:r>
          </a:p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од наносится на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аждую пачку сигарет и на каждый блок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 </a:t>
            </a:r>
          </a:p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При продаже сигарет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оизводитель формирует УПД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в котором указаны коды маркируемой продукции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737DEF67-688E-4F63-AE0B-E4821C7992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5180" y="3770484"/>
            <a:ext cx="8201640" cy="3087516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F90A1FE-3A0A-4195-A765-CE2738D2F82F}"/>
              </a:ext>
            </a:extLst>
          </p:cNvPr>
          <p:cNvSpPr/>
          <p:nvPr/>
        </p:nvSpPr>
        <p:spPr>
          <a:xfrm>
            <a:off x="603507" y="3115149"/>
            <a:ext cx="115548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</a:rPr>
              <a:t>Внимание! После 1 июля 2019 года прекращается производство сигарет без маркировки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30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B4108F1C-7AB7-D844-A16B-79FCDCA9C85A}"/>
              </a:ext>
            </a:extLst>
          </p:cNvPr>
          <p:cNvSpPr txBox="1">
            <a:spLocks/>
          </p:cNvSpPr>
          <p:nvPr/>
        </p:nvSpPr>
        <p:spPr>
          <a:xfrm>
            <a:off x="630000" y="423702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Ускорение процесса продажи</a:t>
            </a:r>
            <a:endParaRPr lang="en-US" sz="2160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C4B0A7C-4857-40A8-84A1-A87B993ADF5B}"/>
              </a:ext>
            </a:extLst>
          </p:cNvPr>
          <p:cNvSpPr/>
          <p:nvPr/>
        </p:nvSpPr>
        <p:spPr>
          <a:xfrm>
            <a:off x="330262" y="1702270"/>
            <a:ext cx="873167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труктура кода маркировки:</a:t>
            </a:r>
          </a:p>
          <a:p>
            <a:endParaRPr lang="ru-RU" dirty="0"/>
          </a:p>
          <a:p>
            <a:r>
              <a:rPr lang="ru-RU" b="1" dirty="0"/>
              <a:t>Пачка сигарет: 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ru-RU" sz="1600" dirty="0"/>
              <a:t>первая группа состоит из 14 цифр и содержит код товара (</a:t>
            </a:r>
            <a:r>
              <a:rPr lang="en-US" sz="1600" dirty="0"/>
              <a:t>GTIN)</a:t>
            </a:r>
            <a:r>
              <a:rPr lang="ru-RU" sz="1600" dirty="0"/>
              <a:t>;</a:t>
            </a:r>
          </a:p>
          <a:p>
            <a:pPr marL="285750" indent="-285750">
              <a:buFontTx/>
              <a:buChar char="-"/>
            </a:pPr>
            <a:r>
              <a:rPr lang="ru-RU" sz="1600" dirty="0"/>
              <a:t>вторая группа состоит из 7 символов (цифр, строчных и прописных букв латинского алфавита, а также специальных символов) и содержит индивидуальный серийный номер упаковки табачной продукции;</a:t>
            </a:r>
          </a:p>
          <a:p>
            <a:pPr marL="285750" indent="-285750">
              <a:buFontTx/>
              <a:buChar char="-"/>
            </a:pPr>
            <a:r>
              <a:rPr lang="ru-RU" sz="1600" dirty="0"/>
              <a:t>третья группа цифр состоит из 4 символов (цифр, строчных и прописных букв латинского алфавита, а также специальных символов) и содержит в перекодированном виде максимальную розничную цену потребительской упаковки с точностью до одной копейки;</a:t>
            </a:r>
          </a:p>
          <a:p>
            <a:pPr marL="285750" indent="-285750">
              <a:buFontTx/>
              <a:buChar char="-"/>
            </a:pPr>
            <a:r>
              <a:rPr lang="ru-RU" sz="1600"/>
              <a:t>четвертая </a:t>
            </a:r>
            <a:r>
              <a:rPr lang="ru-RU" sz="1600" dirty="0"/>
              <a:t>группа состоит из 4 символов (цифр, строчных и прописных букв латинского алфавита, а также специальных символов) и содержит код проверки.</a:t>
            </a:r>
          </a:p>
          <a:p>
            <a:endParaRPr lang="ru-RU" sz="1400" dirty="0"/>
          </a:p>
          <a:p>
            <a:pPr marL="285750" indent="-285750">
              <a:buFontTx/>
              <a:buChar char="-"/>
            </a:pPr>
            <a:endParaRPr lang="ru-RU" sz="1400" dirty="0"/>
          </a:p>
          <a:p>
            <a:r>
              <a:rPr lang="ru-RU" b="1" dirty="0"/>
              <a:t>Присутствие в коде маркировки максимальной розничной цены ускорит продажу и избавит от ошибок</a:t>
            </a:r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xmlns="" id="{531572B5-8972-47EF-8D37-9F61F285B1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520" r="30616"/>
          <a:stretch/>
        </p:blipFill>
        <p:spPr>
          <a:xfrm>
            <a:off x="9474001" y="2495169"/>
            <a:ext cx="2387737" cy="2387737"/>
          </a:xfrm>
          <a:prstGeom prst="ellipse">
            <a:avLst/>
          </a:prstGeom>
          <a:grpFill/>
          <a:ln w="19050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</a:ln>
        </p:spPr>
      </p:pic>
    </p:spTree>
    <p:extLst>
      <p:ext uri="{BB962C8B-B14F-4D97-AF65-F5344CB8AC3E}">
        <p14:creationId xmlns:p14="http://schemas.microsoft.com/office/powerpoint/2010/main" val="8224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xmlns="" id="{609BB936-AC7D-844D-9AF0-762782BAD06E}"/>
              </a:ext>
            </a:extLst>
          </p:cNvPr>
          <p:cNvSpPr txBox="1">
            <a:spLocks/>
          </p:cNvSpPr>
          <p:nvPr/>
        </p:nvSpPr>
        <p:spPr>
          <a:xfrm>
            <a:off x="703890" y="429301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Агрегация транспортной тары</a:t>
            </a:r>
            <a:endParaRPr lang="en-US" sz="2160" b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2BB61F8-6EB2-4989-832D-40EBC36113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575" y="1525211"/>
            <a:ext cx="4285868" cy="486700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AC18890-F936-4467-A669-09F650CF055F}"/>
              </a:ext>
            </a:extLst>
          </p:cNvPr>
          <p:cNvSpPr txBox="1"/>
          <p:nvPr/>
        </p:nvSpPr>
        <p:spPr>
          <a:xfrm>
            <a:off x="4880114" y="1732960"/>
            <a:ext cx="7004982" cy="42473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>
              <a:lnSpc>
                <a:spcPct val="150000"/>
              </a:lnSpc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Для удобства существует возможность агрегации пачек в блоки, блоков в короба, а коробов в паллеты.</a:t>
            </a:r>
          </a:p>
          <a:p>
            <a:pPr marL="285750" indent="-285750" defTabSz="1193566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На пачку и блок наносится 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код </a:t>
            </a:r>
            <a:r>
              <a:rPr lang="en-US" b="1" dirty="0" err="1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DataMatrix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.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а короб и паллет 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наносится линейный 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код формата </a:t>
            </a:r>
            <a:r>
              <a:rPr lang="en-US" b="1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GS1 128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. 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Нанесение такого кода необязательно, но значительно упрощает приемку и отгрузку товара.</a:t>
            </a:r>
            <a:endParaRPr lang="ru-RU" b="1" dirty="0">
              <a:solidFill>
                <a:srgbClr val="212121">
                  <a:lumOff val="21764"/>
                </a:srgbClr>
              </a:solidFill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В системе содержаться данные об агрегированных упаковках и той продукции, которая в них вложена</a:t>
            </a:r>
          </a:p>
          <a:p>
            <a:pPr marL="285750" lvl="0" indent="-285750" defTabSz="1193566" hangingPunct="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</p:spTree>
    <p:extLst>
      <p:ext uri="{BB962C8B-B14F-4D97-AF65-F5344CB8AC3E}">
        <p14:creationId xmlns:p14="http://schemas.microsoft.com/office/powerpoint/2010/main" val="407853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xmlns="" id="{609BB936-AC7D-844D-9AF0-762782BAD06E}"/>
              </a:ext>
            </a:extLst>
          </p:cNvPr>
          <p:cNvSpPr txBox="1">
            <a:spLocks/>
          </p:cNvSpPr>
          <p:nvPr/>
        </p:nvSpPr>
        <p:spPr>
          <a:xfrm>
            <a:off x="570365" y="323244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Требования к организациям оптовой торговли</a:t>
            </a:r>
            <a:endParaRPr lang="en-US" sz="216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1DDF12C-F402-41D0-AD87-BDF44ABA4976}"/>
              </a:ext>
            </a:extLst>
          </p:cNvPr>
          <p:cNvSpPr txBox="1"/>
          <p:nvPr/>
        </p:nvSpPr>
        <p:spPr>
          <a:xfrm>
            <a:off x="5097228" y="597456"/>
            <a:ext cx="6707164" cy="56630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600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омпания оптовой торговли получает электронную накладную от производителя</a:t>
            </a:r>
          </a:p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Необходимо сверить коды упаковок или агрегации в накладной с теми, которые пришли по факту при помощи 2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D</a:t>
            </a: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 сканера штрих-кода</a:t>
            </a:r>
          </a:p>
          <a:p>
            <a:pPr marL="285750" lvl="0" indent="-285750" defTabSz="1193566" hangingPunct="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Если фактичекские коды и указанные в электронной накладной сходятся, то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необходимо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инять накладную. </a:t>
            </a: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Если нет, внести корректировки или полностью отказаться от накладной </a:t>
            </a:r>
          </a:p>
          <a:p>
            <a:pPr marL="285750" lvl="0" indent="-285750" defTabSz="1193566" hangingPunct="0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Срок подачи сведений, составляет 3 рабочих дня с даты приемки табачной продукции, но не позднее даты передачи этой табачной продукции третьим лицам</a:t>
            </a:r>
          </a:p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B9FF2DF1-6F00-4A36-94B7-59641330A8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0198"/>
          <a:stretch/>
        </p:blipFill>
        <p:spPr>
          <a:xfrm>
            <a:off x="481781" y="1297466"/>
            <a:ext cx="3952568" cy="24937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D1A83460-8E82-450C-A2A6-D00F76D877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781" y="4040991"/>
            <a:ext cx="3952568" cy="24937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7C0BC20-8C49-43EB-9DC8-1563AB082C06}"/>
              </a:ext>
            </a:extLst>
          </p:cNvPr>
          <p:cNvSpPr/>
          <p:nvPr/>
        </p:nvSpPr>
        <p:spPr>
          <a:xfrm>
            <a:off x="5314120" y="5683205"/>
            <a:ext cx="7036906" cy="1154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773">
              <a:lnSpc>
                <a:spcPct val="150000"/>
              </a:lnSpc>
              <a:defRPr sz="1200">
                <a:solidFill>
                  <a:srgbClr val="58595B"/>
                </a:solidFill>
              </a:defRPr>
            </a:pPr>
            <a:r>
              <a:rPr lang="ru-RU" sz="1600" b="1" dirty="0">
                <a:solidFill>
                  <a:srgbClr val="FF0000"/>
                </a:solidFill>
              </a:rPr>
              <a:t>Внимание! С 1 июля  2020 года</a:t>
            </a:r>
          </a:p>
          <a:p>
            <a:pPr defTabSz="895773">
              <a:lnSpc>
                <a:spcPct val="150000"/>
              </a:lnSpc>
              <a:defRPr sz="1200">
                <a:solidFill>
                  <a:srgbClr val="58595B"/>
                </a:solidFill>
              </a:defRPr>
            </a:pPr>
            <a:r>
              <a:rPr lang="ru-RU" sz="1600" b="1" dirty="0">
                <a:solidFill>
                  <a:srgbClr val="FF0000"/>
                </a:solidFill>
              </a:rPr>
              <a:t>Обязательная регистрация оптового оборота сигарет</a:t>
            </a:r>
          </a:p>
          <a:p>
            <a:pPr defTabSz="895773">
              <a:lnSpc>
                <a:spcPct val="150000"/>
              </a:lnSpc>
              <a:defRPr sz="1200">
                <a:solidFill>
                  <a:srgbClr val="58595B"/>
                </a:solidFill>
              </a:defRPr>
            </a:pPr>
            <a:r>
              <a:rPr lang="ru-RU" sz="1600" b="1" dirty="0">
                <a:solidFill>
                  <a:srgbClr val="FF0000"/>
                </a:solidFill>
              </a:rPr>
              <a:t>Прекращение оборота не маркированной продукции </a:t>
            </a:r>
          </a:p>
        </p:txBody>
      </p:sp>
    </p:spTree>
    <p:extLst>
      <p:ext uri="{BB962C8B-B14F-4D97-AF65-F5344CB8AC3E}">
        <p14:creationId xmlns:p14="http://schemas.microsoft.com/office/powerpoint/2010/main" val="336478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447248C-97B7-49BF-8CFB-CA0424CBFB15}"/>
              </a:ext>
            </a:extLst>
          </p:cNvPr>
          <p:cNvSpPr txBox="1"/>
          <p:nvPr/>
        </p:nvSpPr>
        <p:spPr>
          <a:xfrm>
            <a:off x="4231597" y="1107615"/>
            <a:ext cx="7960403" cy="61452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285750" marR="0" lvl="0" indent="-285750" algn="l" defTabSz="1193566" rtl="0" eaLnBrk="1" fontAlgn="auto" latinLnBrk="0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212121">
                    <a:lumOff val="21764"/>
                  </a:srgbClr>
                </a:solidFill>
                <a:effectLst/>
                <a:uLnTx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Согласно № 54-ФЗ для торговли подакцизными товарами необходимо использовать онлайн-кассу с возможностью расшифровки номенклатуры </a:t>
            </a:r>
          </a:p>
          <a:p>
            <a:pPr marL="285750" indent="-285750" defTabSz="1193566" hangingPunc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en-US" sz="1500" dirty="0" err="1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DataMatrix</a:t>
            </a:r>
            <a:r>
              <a:rPr lang="en-US" sz="15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 </a:t>
            </a:r>
            <a:r>
              <a:rPr lang="ru-RU" sz="15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код каждой пачки или блока сканируется при продаже. Сканер штрих-кода для ЕГАИС подойдет для работы с маркировкой</a:t>
            </a:r>
          </a:p>
          <a:p>
            <a:pPr marL="285750" indent="-285750" defTabSz="1193566" hangingPunc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ПО кассовой техники должно формировать и отправлять в ОФД электронный кассовый чек с указанием кода маркировки товара </a:t>
            </a:r>
          </a:p>
          <a:p>
            <a:pPr marL="285750" indent="-285750" defTabSz="1193566" hangingPunc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ОФД передает электронный кассовый чек с указанием кода маркировки товара в систему Честный ЗНАК</a:t>
            </a:r>
          </a:p>
          <a:p>
            <a:pPr marL="285750" indent="-285750" defTabSz="1193566" hangingPunc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ea typeface="PT Sans Caption"/>
                <a:cs typeface="PT Sans Caption"/>
                <a:sym typeface="PT Sans Caption"/>
              </a:rPr>
              <a:t>Переход от бумажного документооборота на электронную накладную в форме УПД (универсальный передаточный документ) с 1 июля 2020 года</a:t>
            </a:r>
          </a:p>
          <a:p>
            <a:pPr marL="285750" indent="-285750" defTabSz="1193566" hangingPunc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ru-RU" sz="1500" dirty="0"/>
              <a:t>Предпринимателям, которые используют кассы без передачи данных в ОФД, будет необходимо 1 раз в месяц вносить данные о кодах проданных пачек в личный кабинет системы "Честный ЗНАК"</a:t>
            </a:r>
            <a:endParaRPr lang="ru-RU" sz="1500" dirty="0">
              <a:solidFill>
                <a:srgbClr val="212121">
                  <a:lumOff val="21764"/>
                </a:srgbClr>
              </a:solidFill>
              <a:ea typeface="PT Sans Caption"/>
              <a:cs typeface="PT Sans Caption"/>
              <a:sym typeface="PT Sans Caption"/>
            </a:endParaRPr>
          </a:p>
          <a:p>
            <a:pPr defTabSz="1193566" hangingPunct="0">
              <a:lnSpc>
                <a:spcPct val="150000"/>
              </a:lnSpc>
              <a:spcBef>
                <a:spcPts val="500"/>
              </a:spcBef>
              <a:defRPr/>
            </a:pPr>
            <a:r>
              <a:rPr lang="ru-RU" sz="1500" b="1" dirty="0">
                <a:solidFill>
                  <a:srgbClr val="FF0000"/>
                </a:solidFill>
                <a:sym typeface="PT Sans Caption"/>
              </a:rPr>
              <a:t>С 1 июля 2019 года –  З</a:t>
            </a:r>
            <a:r>
              <a:rPr lang="ru-RU" sz="1500" b="1" dirty="0">
                <a:solidFill>
                  <a:srgbClr val="FF0000"/>
                </a:solidFill>
              </a:rPr>
              <a:t>апрещается розничная продажа маркированных сигарет без передачи сведений в систему Честный ЗНАК </a:t>
            </a:r>
            <a:endParaRPr lang="ru-RU" sz="1500" b="1" dirty="0">
              <a:solidFill>
                <a:srgbClr val="FF0000"/>
              </a:solidFill>
              <a:sym typeface="PT Sans Caption"/>
            </a:endParaRPr>
          </a:p>
          <a:p>
            <a:pPr marL="0" marR="0" lvl="0" indent="0" algn="l" defTabSz="1193566" rtl="0" eaLnBrk="1" fontAlgn="auto" latinLnBrk="0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212121">
                  <a:lumOff val="21764"/>
                </a:srgbClr>
              </a:solidFill>
              <a:effectLst/>
              <a:uLnTx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609BB936-AC7D-844D-9AF0-762782BAD06E}"/>
              </a:ext>
            </a:extLst>
          </p:cNvPr>
          <p:cNvSpPr txBox="1">
            <a:spLocks/>
          </p:cNvSpPr>
          <p:nvPr/>
        </p:nvSpPr>
        <p:spPr>
          <a:xfrm>
            <a:off x="833886" y="400901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Требования к организации розничной торговли</a:t>
            </a:r>
            <a:endParaRPr lang="en-US" sz="2160" b="1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A93FC30-43B8-4066-AB16-A4E4D90C34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103" y="1485418"/>
            <a:ext cx="3575259" cy="22319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B00152F-1E32-418E-8B06-288E792FD8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103" y="4180250"/>
            <a:ext cx="3575259" cy="215196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2688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B4108F1C-7AB7-D844-A16B-79FCDCA9C85A}"/>
              </a:ext>
            </a:extLst>
          </p:cNvPr>
          <p:cNvSpPr txBox="1">
            <a:spLocks/>
          </p:cNvSpPr>
          <p:nvPr/>
        </p:nvSpPr>
        <p:spPr>
          <a:xfrm>
            <a:off x="739330" y="356455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Что необходимо для подключения к маркировке</a:t>
            </a:r>
            <a:endParaRPr lang="en-US" sz="2160" b="1" dirty="0"/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xmlns="" id="{C7DC042C-3A32-4BB1-9402-E209C02445E5}"/>
              </a:ext>
            </a:extLst>
          </p:cNvPr>
          <p:cNvSpPr txBox="1">
            <a:spLocks/>
          </p:cNvSpPr>
          <p:nvPr/>
        </p:nvSpPr>
        <p:spPr>
          <a:xfrm>
            <a:off x="11514400" y="6142172"/>
            <a:ext cx="118622" cy="14144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pic>
        <p:nvPicPr>
          <p:cNvPr id="6" name="галочка.png" descr="галочка.png">
            <a:extLst>
              <a:ext uri="{FF2B5EF4-FFF2-40B4-BE49-F238E27FC236}">
                <a16:creationId xmlns:a16="http://schemas.microsoft.com/office/drawing/2014/main" xmlns="" id="{2E3A38EA-94CE-4911-AFD1-4F690A59B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18076" y="1729979"/>
            <a:ext cx="372650" cy="373118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галочка.png" descr="галочка.png">
            <a:extLst>
              <a:ext uri="{FF2B5EF4-FFF2-40B4-BE49-F238E27FC236}">
                <a16:creationId xmlns:a16="http://schemas.microsoft.com/office/drawing/2014/main" xmlns="" id="{7CBE949C-E369-42F5-B193-B812D74257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33963" y="2489842"/>
            <a:ext cx="372650" cy="373118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галочка.png" descr="галочка.png">
            <a:extLst>
              <a:ext uri="{FF2B5EF4-FFF2-40B4-BE49-F238E27FC236}">
                <a16:creationId xmlns:a16="http://schemas.microsoft.com/office/drawing/2014/main" xmlns="" id="{E7D60CC0-D970-4F0D-AA0B-8E48351455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33963" y="3258497"/>
            <a:ext cx="372650" cy="3731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галочка.png" descr="галочка.png">
            <a:extLst>
              <a:ext uri="{FF2B5EF4-FFF2-40B4-BE49-F238E27FC236}">
                <a16:creationId xmlns:a16="http://schemas.microsoft.com/office/drawing/2014/main" xmlns="" id="{12F3A082-0249-4B90-B8A8-89AB1337711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18076" y="4792331"/>
            <a:ext cx="372650" cy="3731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галочка.png" descr="галочка.png">
            <a:extLst>
              <a:ext uri="{FF2B5EF4-FFF2-40B4-BE49-F238E27FC236}">
                <a16:creationId xmlns:a16="http://schemas.microsoft.com/office/drawing/2014/main" xmlns="" id="{A82027CB-01CA-4A02-B761-42379328B1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33963" y="5560986"/>
            <a:ext cx="372650" cy="37311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01E6D9B-9438-45B1-8D15-CDD4E5EA4DCC}"/>
              </a:ext>
            </a:extLst>
          </p:cNvPr>
          <p:cNvSpPr txBox="1"/>
          <p:nvPr/>
        </p:nvSpPr>
        <p:spPr>
          <a:xfrm>
            <a:off x="1602657" y="1707945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Зарегистрироваться на сайте </a:t>
            </a:r>
            <a:r>
              <a:rPr lang="en-US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8"/>
              </a:rPr>
              <a:t>https://</a:t>
            </a:r>
            <a:r>
              <a:rPr lang="ru-RU" sz="2300" dirty="0" err="1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8"/>
              </a:rPr>
              <a:t>честныйзнак.рф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8"/>
              </a:rPr>
              <a:t>/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</a:t>
            </a:r>
            <a:endParaRPr kumimoji="0" lang="ru-RU" sz="2300" b="0" i="0" u="none" strike="noStrike" cap="none" spc="0" normalizeH="0" baseline="0" dirty="0">
              <a:ln>
                <a:noFill/>
              </a:ln>
              <a:solidFill>
                <a:schemeClr val="accent2">
                  <a:lumOff val="21764"/>
                </a:schemeClr>
              </a:solidFill>
              <a:effectLst/>
              <a:uFillTx/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6D81838-7D64-4DB4-AF18-16E2B8B9A4C0}"/>
              </a:ext>
            </a:extLst>
          </p:cNvPr>
          <p:cNvSpPr txBox="1"/>
          <p:nvPr/>
        </p:nvSpPr>
        <p:spPr>
          <a:xfrm>
            <a:off x="1602656" y="2323056"/>
            <a:ext cx="8190271" cy="8002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Заполнить данные в личном кабинете. </a:t>
            </a:r>
          </a:p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Необходима электронная подпись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0ADFCC7-BD3C-4EE7-9CA3-D58C297B9E59}"/>
              </a:ext>
            </a:extLst>
          </p:cNvPr>
          <p:cNvSpPr txBox="1"/>
          <p:nvPr/>
        </p:nvSpPr>
        <p:spPr>
          <a:xfrm>
            <a:off x="1676399" y="3224158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Обновить прошивку онлайн-кассы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54EAC00-C919-4A11-B7E3-D93153EEDA35}"/>
              </a:ext>
            </a:extLst>
          </p:cNvPr>
          <p:cNvSpPr txBox="1"/>
          <p:nvPr/>
        </p:nvSpPr>
        <p:spPr>
          <a:xfrm>
            <a:off x="1676399" y="4790690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Приобрести 2</a:t>
            </a:r>
            <a:r>
              <a:rPr kumimoji="0" lang="en-US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D </a:t>
            </a:r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сканер штрихкода, если у вас его нет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DAABD9F-B322-458D-90FD-69CE6926DB3B}"/>
              </a:ext>
            </a:extLst>
          </p:cNvPr>
          <p:cNvSpPr txBox="1"/>
          <p:nvPr/>
        </p:nvSpPr>
        <p:spPr>
          <a:xfrm>
            <a:off x="1676399" y="5384015"/>
            <a:ext cx="8190271" cy="8002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Настроить систему электронного документооборота до 1 июля 2020 года</a:t>
            </a:r>
          </a:p>
        </p:txBody>
      </p:sp>
      <p:pic>
        <p:nvPicPr>
          <p:cNvPr id="17" name="галочка.png" descr="галочка.png">
            <a:extLst>
              <a:ext uri="{FF2B5EF4-FFF2-40B4-BE49-F238E27FC236}">
                <a16:creationId xmlns:a16="http://schemas.microsoft.com/office/drawing/2014/main" xmlns="" id="{FE6BBAD6-404A-434B-A298-3890DB5617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133963" y="4027152"/>
            <a:ext cx="372650" cy="373118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8BD97D3-35EF-44A0-AD96-C58E0980B35B}"/>
              </a:ext>
            </a:extLst>
          </p:cNvPr>
          <p:cNvSpPr txBox="1"/>
          <p:nvPr/>
        </p:nvSpPr>
        <p:spPr>
          <a:xfrm>
            <a:off x="1676398" y="3982495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defTabSz="1193566" hangingPunct="0"/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Обновить </a:t>
            </a:r>
            <a:r>
              <a:rPr kumimoji="0" lang="ru-RU" sz="2300" b="0" i="0" u="none" strike="noStrike" cap="none" spc="0" normalizeH="0" baseline="0" dirty="0" err="1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товароучетную</a:t>
            </a:r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accent2">
                    <a:lumOff val="21764"/>
                  </a:schemeClr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 программу</a:t>
            </a:r>
          </a:p>
        </p:txBody>
      </p:sp>
    </p:spTree>
    <p:extLst>
      <p:ext uri="{BB962C8B-B14F-4D97-AF65-F5344CB8AC3E}">
        <p14:creationId xmlns:p14="http://schemas.microsoft.com/office/powerpoint/2010/main" val="290710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B4108F1C-7AB7-D844-A16B-79FCDCA9C85A}"/>
              </a:ext>
            </a:extLst>
          </p:cNvPr>
          <p:cNvSpPr txBox="1">
            <a:spLocks/>
          </p:cNvSpPr>
          <p:nvPr/>
        </p:nvSpPr>
        <p:spPr>
          <a:xfrm>
            <a:off x="739330" y="356455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Раздел маркировки табака на сайте </a:t>
            </a:r>
            <a:r>
              <a:rPr lang="ru-RU" sz="2160" b="1" dirty="0" err="1">
                <a:latin typeface="PT Sans Caption "/>
              </a:rPr>
              <a:t>ЧестныйЗНАК.рф</a:t>
            </a:r>
            <a:endParaRPr lang="en-US" sz="2160" b="1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17C1EA54-DB32-41F6-84DD-D166BBA5D6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8626" y="1221205"/>
            <a:ext cx="10654748" cy="528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86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xmlns="" id="{AFCB3B52-1DEC-4006-AF31-033E74C922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A76AD66-CF47-4199-89D6-7F059272E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487" y="371514"/>
            <a:ext cx="10524228" cy="332399"/>
          </a:xfrm>
        </p:spPr>
        <p:txBody>
          <a:bodyPr/>
          <a:lstStyle/>
          <a:p>
            <a:pPr defTabSz="839852"/>
            <a:r>
              <a:rPr lang="ru-RU" sz="2162" b="1" dirty="0">
                <a:latin typeface="PT Sans Caption"/>
              </a:rPr>
              <a:t>Предпосылки</a:t>
            </a:r>
            <a:endParaRPr lang="en-US" sz="2162" b="1" dirty="0">
              <a:latin typeface="PT Sans Caption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051F12A-7DC3-48FD-BD2B-1A7695E7610D}"/>
              </a:ext>
            </a:extLst>
          </p:cNvPr>
          <p:cNvSpPr/>
          <p:nvPr/>
        </p:nvSpPr>
        <p:spPr>
          <a:xfrm>
            <a:off x="748017" y="6232062"/>
            <a:ext cx="10534684" cy="4285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25" dirty="0">
                <a:solidFill>
                  <a:srgbClr val="575757"/>
                </a:solidFill>
                <a:latin typeface="PT Sans Caption"/>
              </a:rPr>
              <a:t>Источники: </a:t>
            </a:r>
            <a:r>
              <a:rPr lang="en-US" sz="1225" dirty="0">
                <a:solidFill>
                  <a:srgbClr val="575757"/>
                </a:solidFill>
                <a:latin typeface="PT Sans Caption"/>
              </a:rPr>
              <a:t>Kantar TNS, </a:t>
            </a:r>
            <a:r>
              <a:rPr lang="ru-RU" sz="1225" dirty="0">
                <a:solidFill>
                  <a:srgbClr val="575757"/>
                </a:solidFill>
                <a:latin typeface="PT Sans Caption"/>
              </a:rPr>
              <a:t>НИУ ВШЭ, </a:t>
            </a:r>
            <a:r>
              <a:rPr lang="en-US" sz="1225" dirty="0">
                <a:solidFill>
                  <a:srgbClr val="575757"/>
                </a:solidFill>
                <a:latin typeface="PT Sans Caption"/>
              </a:rPr>
              <a:t>Forbes, </a:t>
            </a:r>
            <a:r>
              <a:rPr lang="ru-RU" sz="1225" dirty="0">
                <a:solidFill>
                  <a:srgbClr val="575757"/>
                </a:solidFill>
                <a:latin typeface="PT Sans Caption"/>
              </a:rPr>
              <a:t>Коммерсант</a:t>
            </a:r>
            <a:endParaRPr lang="en-US" sz="1225" dirty="0">
              <a:solidFill>
                <a:srgbClr val="575757"/>
              </a:solidFill>
              <a:latin typeface="PT Sans Caption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4F61C7DE-3795-4CDE-9963-A89C21C504A2}"/>
              </a:ext>
            </a:extLst>
          </p:cNvPr>
          <p:cNvSpPr/>
          <p:nvPr/>
        </p:nvSpPr>
        <p:spPr>
          <a:xfrm>
            <a:off x="748017" y="1614257"/>
            <a:ext cx="4813406" cy="5490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042" b="1">
                <a:solidFill>
                  <a:srgbClr val="575757"/>
                </a:solidFill>
                <a:latin typeface="PT Sans Caption"/>
              </a:rPr>
              <a:t>Доля незаконного оборота продукции</a:t>
            </a:r>
            <a:endParaRPr lang="en-US" sz="2042" dirty="0">
              <a:solidFill>
                <a:srgbClr val="575757"/>
              </a:solidFill>
              <a:latin typeface="PT Sans Caption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197CA71F-1D74-4CAB-B32A-9AD2A8D5829B}"/>
              </a:ext>
            </a:extLst>
          </p:cNvPr>
          <p:cNvSpPr/>
          <p:nvPr/>
        </p:nvSpPr>
        <p:spPr>
          <a:xfrm>
            <a:off x="5931636" y="1632520"/>
            <a:ext cx="4975276" cy="5490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042" b="1" dirty="0">
                <a:solidFill>
                  <a:srgbClr val="575757"/>
                </a:solidFill>
                <a:latin typeface="PT Sans Caption"/>
              </a:rPr>
              <a:t>Внедрение систем</a:t>
            </a:r>
          </a:p>
          <a:p>
            <a:r>
              <a:rPr lang="ru-RU" sz="2042" b="1" dirty="0">
                <a:solidFill>
                  <a:srgbClr val="575757"/>
                </a:solidFill>
                <a:latin typeface="PT Sans Caption"/>
              </a:rPr>
              <a:t>прослеживания</a:t>
            </a:r>
            <a:endParaRPr lang="en-US" sz="2042" dirty="0">
              <a:solidFill>
                <a:srgbClr val="575757"/>
              </a:solidFill>
              <a:latin typeface="PT Sans Caption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3FDCB02-401D-4CEE-965C-32F1961143C6}"/>
              </a:ext>
            </a:extLst>
          </p:cNvPr>
          <p:cNvSpPr/>
          <p:nvPr/>
        </p:nvSpPr>
        <p:spPr>
          <a:xfrm>
            <a:off x="6942834" y="2367252"/>
            <a:ext cx="4900177" cy="3918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25"/>
              </a:spcAft>
            </a:pPr>
            <a:r>
              <a:rPr lang="ru-RU" sz="1633" dirty="0">
                <a:solidFill>
                  <a:srgbClr val="58595B"/>
                </a:solidFill>
                <a:latin typeface="PT Sans Caption"/>
              </a:rPr>
              <a:t>Для борьбы с незаконным оборотом продукции во всем мире запускаются системы прослеживания товаров: США (лекарства), ЕС (лекарства, табачная продукция (отдельные страны), Турция, Аргентина и Бразилия (лекарства, табачная продукция, напитки), и др.</a:t>
            </a:r>
          </a:p>
          <a:p>
            <a:pPr>
              <a:spcAft>
                <a:spcPts val="1225"/>
              </a:spcAft>
            </a:pPr>
            <a:r>
              <a:rPr lang="ru-RU" sz="1633" dirty="0">
                <a:solidFill>
                  <a:srgbClr val="58595B"/>
                </a:solidFill>
                <a:latin typeface="PT Sans Caption"/>
              </a:rPr>
              <a:t>В декабре 2017 г. Президент РФ Владимир Путин одобрил создание Единой системы сплошной маркировки и прослеживаемости товаров</a:t>
            </a:r>
          </a:p>
          <a:p>
            <a:pPr>
              <a:spcAft>
                <a:spcPts val="1225"/>
              </a:spcAft>
            </a:pPr>
            <a:r>
              <a:rPr lang="ru-RU" sz="1633" dirty="0">
                <a:solidFill>
                  <a:srgbClr val="58595B"/>
                </a:solidFill>
                <a:latin typeface="PT Sans Caption"/>
              </a:rPr>
              <a:t>24 апреля Правительство РФ утвердило модель функционирование системы и перечень из 10 товарных групп, подлежащих обязательной маркировке</a:t>
            </a:r>
            <a:endParaRPr lang="en-US" sz="1633" dirty="0">
              <a:latin typeface="PT Sans Caption"/>
            </a:endParaRPr>
          </a:p>
        </p:txBody>
      </p:sp>
      <p:sp>
        <p:nvSpPr>
          <p:cNvPr id="11" name="Равнобедренный треугольник 10">
            <a:extLst>
              <a:ext uri="{FF2B5EF4-FFF2-40B4-BE49-F238E27FC236}">
                <a16:creationId xmlns:a16="http://schemas.microsoft.com/office/drawing/2014/main" xmlns="" id="{F55700D4-141F-42EA-BD2B-5AF510BC992C}"/>
              </a:ext>
            </a:extLst>
          </p:cNvPr>
          <p:cNvSpPr/>
          <p:nvPr/>
        </p:nvSpPr>
        <p:spPr>
          <a:xfrm rot="5400000">
            <a:off x="3502420" y="3841344"/>
            <a:ext cx="4118003" cy="292101"/>
          </a:xfrm>
          <a:prstGeom prst="triangle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25" dirty="0">
              <a:solidFill>
                <a:srgbClr val="FFFFFF"/>
              </a:solidFill>
              <a:latin typeface="PT Sans Caption"/>
            </a:endParaRPr>
          </a:p>
        </p:txBody>
      </p:sp>
      <p:pic>
        <p:nvPicPr>
          <p:cNvPr id="13" name="Рисунок 12" descr="Мир">
            <a:extLst>
              <a:ext uri="{FF2B5EF4-FFF2-40B4-BE49-F238E27FC236}">
                <a16:creationId xmlns:a16="http://schemas.microsoft.com/office/drawing/2014/main" xmlns="" id="{4FB0C070-1491-416A-851C-02949094AA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931636" y="2603349"/>
            <a:ext cx="933414" cy="933414"/>
          </a:xfrm>
          <a:prstGeom prst="rect">
            <a:avLst/>
          </a:prstGeom>
        </p:spPr>
      </p:pic>
      <p:pic>
        <p:nvPicPr>
          <p:cNvPr id="14" name="Grafik 3">
            <a:extLst>
              <a:ext uri="{FF2B5EF4-FFF2-40B4-BE49-F238E27FC236}">
                <a16:creationId xmlns:a16="http://schemas.microsoft.com/office/drawing/2014/main" xmlns="" id="{321CF352-23D6-4C57-90F4-93AB104F11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639" y="4322820"/>
            <a:ext cx="777845" cy="518563"/>
          </a:xfrm>
          <a:prstGeom prst="rect">
            <a:avLst/>
          </a:prstGeom>
          <a:ln w="25400">
            <a:solidFill>
              <a:srgbClr val="6E6F73"/>
            </a:solidFill>
            <a:prstDash val="solid"/>
          </a:ln>
        </p:spPr>
      </p:pic>
      <p:pic>
        <p:nvPicPr>
          <p:cNvPr id="15" name="Grafik 3">
            <a:extLst>
              <a:ext uri="{FF2B5EF4-FFF2-40B4-BE49-F238E27FC236}">
                <a16:creationId xmlns:a16="http://schemas.microsoft.com/office/drawing/2014/main" xmlns="" id="{79B05067-21F5-4E8A-8E89-DBCEFC2F8AE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419" y="5527832"/>
            <a:ext cx="777845" cy="518563"/>
          </a:xfrm>
          <a:prstGeom prst="rect">
            <a:avLst/>
          </a:prstGeom>
          <a:ln w="25400">
            <a:solidFill>
              <a:srgbClr val="6E6F73"/>
            </a:solidFill>
            <a:prstDash val="solid"/>
          </a:ln>
        </p:spPr>
      </p:pic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xmlns="" id="{285388DC-7C3A-4A8A-9EC6-14F6EDB57B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55650"/>
              </p:ext>
            </p:extLst>
          </p:nvPr>
        </p:nvGraphicFramePr>
        <p:xfrm>
          <a:off x="348989" y="1981535"/>
          <a:ext cx="5345488" cy="47027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79811">
                  <a:extLst>
                    <a:ext uri="{9D8B030D-6E8A-4147-A177-3AD203B41FA5}">
                      <a16:colId xmlns:a16="http://schemas.microsoft.com/office/drawing/2014/main" xmlns="" val="2591019702"/>
                    </a:ext>
                  </a:extLst>
                </a:gridCol>
                <a:gridCol w="3865677">
                  <a:extLst>
                    <a:ext uri="{9D8B030D-6E8A-4147-A177-3AD203B41FA5}">
                      <a16:colId xmlns:a16="http://schemas.microsoft.com/office/drawing/2014/main" xmlns="" val="38093724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800" b="1" dirty="0"/>
                        <a:t>35%</a:t>
                      </a:r>
                    </a:p>
                    <a:p>
                      <a:endParaRPr lang="ru-RU" sz="1800" b="1" dirty="0"/>
                    </a:p>
                    <a:p>
                      <a:r>
                        <a:rPr lang="ru-RU" sz="1800" b="1" dirty="0"/>
                        <a:t>20-25%</a:t>
                      </a:r>
                    </a:p>
                    <a:p>
                      <a:endParaRPr lang="ru-RU" sz="1800" b="1" dirty="0"/>
                    </a:p>
                    <a:p>
                      <a:r>
                        <a:rPr lang="ru-RU" sz="1800" b="1" dirty="0"/>
                        <a:t>25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20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8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До 10%</a:t>
                      </a:r>
                      <a:endParaRPr lang="en-US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/>
                    </a:p>
                    <a:p>
                      <a:endParaRPr lang="en-US" sz="1800" b="1" dirty="0"/>
                    </a:p>
                  </a:txBody>
                  <a:tcPr marL="93341" marR="93341" marT="293989" marB="293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Легкая промышленность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Минеральная вода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Молочная продукция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Парфюмерия и косметика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Табачная продукция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Лекарственные препараты</a:t>
                      </a:r>
                      <a:endParaRPr lang="en-US" sz="11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41" marR="93341" marT="293989" marB="293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6103902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902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C5759699-8AE5-4BAD-B830-C5BA7CC035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3451" y="1264268"/>
            <a:ext cx="6931218" cy="5500967"/>
          </a:xfrm>
          <a:prstGeom prst="rect">
            <a:avLst/>
          </a:prstGeom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B4108F1C-7AB7-D844-A16B-79FCDCA9C85A}"/>
              </a:ext>
            </a:extLst>
          </p:cNvPr>
          <p:cNvSpPr txBox="1">
            <a:spLocks/>
          </p:cNvSpPr>
          <p:nvPr/>
        </p:nvSpPr>
        <p:spPr>
          <a:xfrm>
            <a:off x="739330" y="356455"/>
            <a:ext cx="1052422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sz="2160" b="1" dirty="0">
                <a:latin typeface="PT Sans Caption "/>
              </a:rPr>
              <a:t>Регистрация в системе и партнерские решения</a:t>
            </a:r>
            <a:endParaRPr lang="en-US" sz="2160" b="1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4465C17-B637-41CF-B508-6881795195D1}"/>
              </a:ext>
            </a:extLst>
          </p:cNvPr>
          <p:cNvSpPr/>
          <p:nvPr/>
        </p:nvSpPr>
        <p:spPr>
          <a:xfrm>
            <a:off x="2053883" y="2837140"/>
            <a:ext cx="1057066" cy="442452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A9E8FA72-D624-4135-A58D-82907D0F82A7}"/>
              </a:ext>
            </a:extLst>
          </p:cNvPr>
          <p:cNvSpPr/>
          <p:nvPr/>
        </p:nvSpPr>
        <p:spPr>
          <a:xfrm>
            <a:off x="6698333" y="6080681"/>
            <a:ext cx="2077920" cy="599768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BBA1786C-4EA2-40C1-AB62-5A2BC9104B83}"/>
              </a:ext>
            </a:extLst>
          </p:cNvPr>
          <p:cNvSpPr/>
          <p:nvPr/>
        </p:nvSpPr>
        <p:spPr>
          <a:xfrm>
            <a:off x="3532025" y="1264268"/>
            <a:ext cx="652349" cy="327671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11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descr="Screen Clippi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872" y="327725"/>
            <a:ext cx="11239967" cy="498598"/>
          </a:xfrm>
        </p:spPr>
        <p:txBody>
          <a:bodyPr wrap="square">
            <a:spAutoFit/>
          </a:bodyPr>
          <a:lstStyle/>
          <a:p>
            <a:pPr>
              <a:tabLst>
                <a:tab pos="5922963" algn="l"/>
              </a:tabLst>
            </a:pPr>
            <a:r>
              <a:rPr lang="ru-RU" dirty="0"/>
              <a:t>Спасибо за внимание!	</a:t>
            </a:r>
            <a:endParaRPr lang="en-US" sz="1100" b="0" dirty="0">
              <a:solidFill>
                <a:srgbClr val="FFFFFF">
                  <a:lumMod val="100000"/>
                </a:srgbClr>
              </a:solidFill>
              <a:latin typeface="PT Sans Caption" panose="020B0603020203020204" pitchFamily="34" charset="-52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658006" y="2573249"/>
            <a:ext cx="8663945" cy="3663123"/>
            <a:chOff x="6685280" y="1889760"/>
            <a:chExt cx="5483433" cy="2072640"/>
          </a:xfrm>
        </p:grpSpPr>
        <p:sp>
          <p:nvSpPr>
            <p:cNvPr id="28" name="Rectangle 27"/>
            <p:cNvSpPr/>
            <p:nvPr/>
          </p:nvSpPr>
          <p:spPr>
            <a:xfrm>
              <a:off x="6685280" y="1889760"/>
              <a:ext cx="5232400" cy="207264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9" name="ee4pContent1"/>
            <p:cNvSpPr txBox="1"/>
            <p:nvPr/>
          </p:nvSpPr>
          <p:spPr>
            <a:xfrm>
              <a:off x="7173073" y="2452696"/>
              <a:ext cx="4995640" cy="143614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1D1D1D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>
              <a:defPPr>
                <a:defRPr lang="en-US"/>
              </a:defPPr>
              <a:lvl1pPr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95959"/>
                  </a:solidFill>
                  <a:latin typeface="PT Sans Caption" panose="020B0603020203020204" charset="0"/>
                  <a:cs typeface="Arial" pitchFamily="34" charset="0"/>
                </a:defRPr>
              </a:lvl1pPr>
              <a:lvl2pPr marL="324000" lvl="1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95959"/>
                  </a:solidFill>
                  <a:latin typeface="PT Sans Caption" panose="020B0603020203020204" charset="0"/>
                </a:defRPr>
              </a:lvl2pPr>
              <a:lvl3pPr marL="648000" lvl="2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95959"/>
                  </a:solidFill>
                  <a:latin typeface="PT Sans Caption" panose="020B0603020203020204" charset="0"/>
                </a:defRPr>
              </a:lvl3pPr>
              <a:lvl4pPr marL="0" lvl="3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95959"/>
                  </a:solidFill>
                  <a:latin typeface="PT Sans Caption" panose="020B0603020203020204" charset="0"/>
                </a:defRPr>
              </a:lvl4pPr>
              <a:lvl5pPr marL="0" lvl="4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95959"/>
                  </a:solidFill>
                  <a:latin typeface="PT Sans Caption" panose="020B0603020203020204" charset="0"/>
                </a:defRPr>
              </a:lvl5pPr>
              <a:lvl6pPr marL="324000" lvl="5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95959"/>
                  </a:solidFill>
                  <a:latin typeface="PT Sans Caption" panose="020B0603020203020204" charset="0"/>
                </a:defRPr>
              </a:lvl6pPr>
              <a:lvl7pPr marL="0" lvl="6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95959"/>
                  </a:solidFill>
                  <a:latin typeface="PT Sans Caption" panose="020B0603020203020204" charset="0"/>
                </a:defRPr>
              </a:lvl7pPr>
              <a:lvl8pPr marL="0" lvl="7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595959"/>
                  </a:solidFill>
                  <a:latin typeface="PT Sans Caption" panose="020B0603020203020204" charset="0"/>
                </a:defRPr>
              </a:lvl8pPr>
              <a:lvl9pPr marL="0" lvl="8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595959"/>
                  </a:solidFill>
                  <a:latin typeface="PT Sans Caption" panose="020B0603020203020204" charset="0"/>
                </a:defRPr>
              </a:lvl9pPr>
            </a:lstStyle>
            <a:p>
              <a:endParaRPr lang="ru-RU" sz="1800" dirty="0"/>
            </a:p>
            <a:p>
              <a:pPr>
                <a:buNone/>
              </a:pPr>
              <a:r>
                <a:rPr lang="en-US" sz="1800" b="1" dirty="0">
                  <a:hlinkClick r:id="rId7"/>
                </a:rPr>
                <a:t>https://</a:t>
              </a:r>
              <a:r>
                <a:rPr lang="ru-RU" sz="1800" b="1" dirty="0" err="1">
                  <a:hlinkClick r:id="rId7"/>
                </a:rPr>
                <a:t>честныйзнак.рф</a:t>
              </a:r>
              <a:r>
                <a:rPr lang="ru-RU" sz="1800" b="1" dirty="0">
                  <a:hlinkClick r:id="rId7"/>
                </a:rPr>
                <a:t>/</a:t>
              </a:r>
              <a:endParaRPr lang="en-US" sz="1800" b="1" dirty="0"/>
            </a:p>
            <a:p>
              <a:pPr>
                <a:buNone/>
              </a:pPr>
              <a:endParaRPr lang="ru-RU" sz="1800" b="1" dirty="0"/>
            </a:p>
            <a:p>
              <a:pPr>
                <a:buNone/>
              </a:pPr>
              <a:r>
                <a:rPr lang="en-US" sz="1800" b="1" dirty="0">
                  <a:hlinkClick r:id="rId8"/>
                </a:rPr>
                <a:t>https://crpt.ru/</a:t>
              </a:r>
              <a:endParaRPr lang="ru-RU" sz="1800" b="1" dirty="0"/>
            </a:p>
            <a:p>
              <a:endParaRPr lang="ru-RU" sz="1800" dirty="0"/>
            </a:p>
            <a:p>
              <a:endParaRPr lang="en-US" sz="1800" dirty="0"/>
            </a:p>
            <a:p>
              <a:endParaRPr lang="en-US" sz="1800" dirty="0"/>
            </a:p>
          </p:txBody>
        </p:sp>
        <p:sp>
          <p:nvSpPr>
            <p:cNvPr id="30" name="ee4pHeader1"/>
            <p:cNvSpPr txBox="1"/>
            <p:nvPr/>
          </p:nvSpPr>
          <p:spPr>
            <a:xfrm>
              <a:off x="6777370" y="2129994"/>
              <a:ext cx="4995640" cy="65759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endParaRPr lang="ru-RU" sz="2400" dirty="0">
                <a:solidFill>
                  <a:srgbClr val="595959"/>
                </a:solidFill>
                <a:cs typeface="Arial" pitchFamily="34" charset="0"/>
              </a:endParaRPr>
            </a:p>
          </p:txBody>
        </p:sp>
        <p:pic>
          <p:nvPicPr>
            <p:cNvPr id="34" name="Picture 33"/>
            <p:cNvPicPr preferRelativeResize="0"/>
            <p:nvPr/>
          </p:nvPicPr>
          <p:blipFill rotWithShape="1">
            <a:blip r:embed="rId9">
              <a:alphaModFix/>
            </a:blip>
            <a:srcRect l="-57" t="571" r="55" b="32592"/>
            <a:stretch/>
          </p:blipFill>
          <p:spPr>
            <a:xfrm>
              <a:off x="11041807" y="2059485"/>
              <a:ext cx="731204" cy="941556"/>
            </a:xfrm>
            <a:custGeom>
              <a:avLst/>
              <a:gdLst>
                <a:gd name="connsiteX0" fmla="*/ 193149 w 1158868"/>
                <a:gd name="connsiteY0" fmla="*/ 0 h 1492250"/>
                <a:gd name="connsiteX1" fmla="*/ 965719 w 1158868"/>
                <a:gd name="connsiteY1" fmla="*/ 0 h 1492250"/>
                <a:gd name="connsiteX2" fmla="*/ 1158868 w 1158868"/>
                <a:gd name="connsiteY2" fmla="*/ 193149 h 1492250"/>
                <a:gd name="connsiteX3" fmla="*/ 1158868 w 1158868"/>
                <a:gd name="connsiteY3" fmla="*/ 1299101 h 1492250"/>
                <a:gd name="connsiteX4" fmla="*/ 965719 w 1158868"/>
                <a:gd name="connsiteY4" fmla="*/ 1492250 h 1492250"/>
                <a:gd name="connsiteX5" fmla="*/ 193149 w 1158868"/>
                <a:gd name="connsiteY5" fmla="*/ 1492250 h 1492250"/>
                <a:gd name="connsiteX6" fmla="*/ 0 w 1158868"/>
                <a:gd name="connsiteY6" fmla="*/ 1299101 h 1492250"/>
                <a:gd name="connsiteX7" fmla="*/ 0 w 1158868"/>
                <a:gd name="connsiteY7" fmla="*/ 193149 h 1492250"/>
                <a:gd name="connsiteX8" fmla="*/ 193149 w 1158868"/>
                <a:gd name="connsiteY8" fmla="*/ 0 h 149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8868" h="1492250">
                  <a:moveTo>
                    <a:pt x="193149" y="0"/>
                  </a:moveTo>
                  <a:lnTo>
                    <a:pt x="965719" y="0"/>
                  </a:lnTo>
                  <a:cubicBezTo>
                    <a:pt x="1072392" y="0"/>
                    <a:pt x="1158868" y="86476"/>
                    <a:pt x="1158868" y="193149"/>
                  </a:cubicBezTo>
                  <a:lnTo>
                    <a:pt x="1158868" y="1299101"/>
                  </a:lnTo>
                  <a:cubicBezTo>
                    <a:pt x="1158868" y="1405774"/>
                    <a:pt x="1072392" y="1492250"/>
                    <a:pt x="965719" y="1492250"/>
                  </a:cubicBezTo>
                  <a:lnTo>
                    <a:pt x="193149" y="1492250"/>
                  </a:lnTo>
                  <a:cubicBezTo>
                    <a:pt x="86476" y="1492250"/>
                    <a:pt x="0" y="1405774"/>
                    <a:pt x="0" y="1299101"/>
                  </a:cubicBezTo>
                  <a:lnTo>
                    <a:pt x="0" y="193149"/>
                  </a:lnTo>
                  <a:cubicBezTo>
                    <a:pt x="0" y="86476"/>
                    <a:pt x="86476" y="0"/>
                    <a:pt x="193149" y="0"/>
                  </a:cubicBezTo>
                  <a:close/>
                </a:path>
              </a:pathLst>
            </a:cu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7505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C4A43DCA-97A0-4DBD-B8E5-488B73DFDF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xmlns="" id="{C4A43DCA-97A0-4DBD-B8E5-488B73DFDF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3" name="Title 1"/>
          <p:cNvSpPr txBox="1">
            <a:spLocks noGrp="1"/>
          </p:cNvSpPr>
          <p:nvPr>
            <p:ph type="title"/>
          </p:nvPr>
        </p:nvSpPr>
        <p:spPr>
          <a:xfrm>
            <a:off x="644206" y="287234"/>
            <a:ext cx="10907800" cy="611335"/>
          </a:xfrm>
          <a:prstGeom prst="rect">
            <a:avLst/>
          </a:prstGeom>
        </p:spPr>
        <p:txBody>
          <a:bodyPr/>
          <a:lstStyle>
            <a:lvl1pPr defTabSz="839852">
              <a:defRPr sz="2162" b="1"/>
            </a:lvl1pPr>
          </a:lstStyle>
          <a:p>
            <a:r>
              <a:rPr lang="ru-RU" dirty="0">
                <a:latin typeface="PT Sans Caption"/>
              </a:rPr>
              <a:t>Принято решение о создании единой системы маркировки и прослеживаемости товаров в РФ</a:t>
            </a:r>
          </a:p>
        </p:txBody>
      </p:sp>
      <p:sp>
        <p:nvSpPr>
          <p:cNvPr id="1534" name="ee4pContent2"/>
          <p:cNvSpPr txBox="1"/>
          <p:nvPr/>
        </p:nvSpPr>
        <p:spPr>
          <a:xfrm>
            <a:off x="922136" y="1541964"/>
            <a:ext cx="10347728" cy="513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893459">
              <a:buClr>
                <a:schemeClr val="accent2">
                  <a:lumOff val="21764"/>
                </a:schemeClr>
              </a:buClr>
              <a:buSzPct val="100000"/>
              <a:buFont typeface="Trebuchet MS"/>
              <a:buChar char="​"/>
              <a:defRPr sz="1600" b="1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По поручению Председателя Правительства РФ Дмитрия Медведева к 2024 году должна быть создана сквозная система маркировки товаров контрольными идентификационными знаками</a:t>
            </a:r>
          </a:p>
        </p:txBody>
      </p:sp>
      <p:sp>
        <p:nvSpPr>
          <p:cNvPr id="1535" name="Существующие системы"/>
          <p:cNvSpPr txBox="1"/>
          <p:nvPr/>
        </p:nvSpPr>
        <p:spPr>
          <a:xfrm>
            <a:off x="1570156" y="2744794"/>
            <a:ext cx="3035728" cy="38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800" b="1"/>
            </a:lvl1pPr>
          </a:lstStyle>
          <a:p>
            <a:r>
              <a:rPr lang="ru-RU" sz="1837" dirty="0">
                <a:solidFill>
                  <a:srgbClr val="6E6F73"/>
                </a:solidFill>
                <a:latin typeface="PT Sans Caption"/>
              </a:rPr>
              <a:t>Существующие системы</a:t>
            </a:r>
          </a:p>
        </p:txBody>
      </p:sp>
      <p:sp>
        <p:nvSpPr>
          <p:cNvPr id="1536" name="Пилотные проекты"/>
          <p:cNvSpPr txBox="1"/>
          <p:nvPr/>
        </p:nvSpPr>
        <p:spPr>
          <a:xfrm>
            <a:off x="7456370" y="2698382"/>
            <a:ext cx="2418961" cy="3828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800" b="1"/>
            </a:lvl1pPr>
          </a:lstStyle>
          <a:p>
            <a:r>
              <a:rPr lang="ru-RU" sz="1837" dirty="0">
                <a:solidFill>
                  <a:srgbClr val="6E6F73"/>
                </a:solidFill>
                <a:latin typeface="PT Sans Caption"/>
              </a:rPr>
              <a:t>Пилотные проекты</a:t>
            </a:r>
          </a:p>
        </p:txBody>
      </p:sp>
      <p:sp>
        <p:nvSpPr>
          <p:cNvPr id="1538" name="Алкоголь"/>
          <p:cNvSpPr txBox="1"/>
          <p:nvPr/>
        </p:nvSpPr>
        <p:spPr>
          <a:xfrm>
            <a:off x="549878" y="3588421"/>
            <a:ext cx="981867" cy="343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Алкоголь</a:t>
            </a:r>
          </a:p>
        </p:txBody>
      </p:sp>
      <p:sp>
        <p:nvSpPr>
          <p:cNvPr id="1539" name="Меховые изделия"/>
          <p:cNvSpPr txBox="1"/>
          <p:nvPr/>
        </p:nvSpPr>
        <p:spPr>
          <a:xfrm>
            <a:off x="549878" y="4199376"/>
            <a:ext cx="1831778" cy="343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Меховые изделия</a:t>
            </a:r>
          </a:p>
        </p:txBody>
      </p:sp>
      <p:sp>
        <p:nvSpPr>
          <p:cNvPr id="1540" name="Лекарственные…"/>
          <p:cNvSpPr txBox="1"/>
          <p:nvPr/>
        </p:nvSpPr>
        <p:spPr>
          <a:xfrm>
            <a:off x="6419787" y="3401982"/>
            <a:ext cx="1661027" cy="5949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/>
          <a:p>
            <a:pPr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</a:rPr>
              <a:t>Лекарственные </a:t>
            </a:r>
          </a:p>
          <a:p>
            <a:pPr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</a:rPr>
              <a:t>препараты</a:t>
            </a:r>
          </a:p>
        </p:txBody>
      </p:sp>
      <p:sp>
        <p:nvSpPr>
          <p:cNvPr id="1541" name="Табачная продукция"/>
          <p:cNvSpPr txBox="1"/>
          <p:nvPr/>
        </p:nvSpPr>
        <p:spPr>
          <a:xfrm>
            <a:off x="6419788" y="4185254"/>
            <a:ext cx="2082553" cy="343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Табачная продукция</a:t>
            </a:r>
          </a:p>
        </p:txBody>
      </p:sp>
      <p:sp>
        <p:nvSpPr>
          <p:cNvPr id="1542" name="Обувь"/>
          <p:cNvSpPr txBox="1"/>
          <p:nvPr/>
        </p:nvSpPr>
        <p:spPr>
          <a:xfrm>
            <a:off x="6419787" y="4842886"/>
            <a:ext cx="1703282" cy="343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Одежда и Обувь</a:t>
            </a:r>
          </a:p>
        </p:txBody>
      </p:sp>
      <p:sp>
        <p:nvSpPr>
          <p:cNvPr id="1543" name="Продукция животного…"/>
          <p:cNvSpPr txBox="1"/>
          <p:nvPr/>
        </p:nvSpPr>
        <p:spPr>
          <a:xfrm>
            <a:off x="6419787" y="5374875"/>
            <a:ext cx="2253304" cy="5949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/>
          <a:p>
            <a:pPr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</a:rPr>
              <a:t>Продукция животного </a:t>
            </a:r>
          </a:p>
          <a:p>
            <a:pPr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</a:rPr>
              <a:t>происхождения</a:t>
            </a:r>
          </a:p>
        </p:txBody>
      </p:sp>
      <p:sp>
        <p:nvSpPr>
          <p:cNvPr id="1546" name="Ювелирные изделия"/>
          <p:cNvSpPr txBox="1"/>
          <p:nvPr/>
        </p:nvSpPr>
        <p:spPr>
          <a:xfrm>
            <a:off x="6419787" y="6185820"/>
            <a:ext cx="2114035" cy="3436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r>
              <a:rPr lang="ru-RU" sz="1633" dirty="0">
                <a:solidFill>
                  <a:srgbClr val="6E6F73"/>
                </a:solidFill>
                <a:latin typeface="PT Sans Caption"/>
              </a:rPr>
              <a:t>Ювелирные изделия</a:t>
            </a:r>
          </a:p>
        </p:txBody>
      </p:sp>
      <p:pic>
        <p:nvPicPr>
          <p:cNvPr id="1547" name="Рисунок 49" descr="Рисунок 49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9029961" y="6226665"/>
            <a:ext cx="1337751" cy="55020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52" name="Picture 18" descr="Picture 18"/>
          <p:cNvPicPr>
            <a:picLocks noChangeAspect="1"/>
          </p:cNvPicPr>
          <p:nvPr/>
        </p:nvPicPr>
        <p:blipFill>
          <a:blip r:embed="rId8">
            <a:extLst/>
          </a:blip>
          <a:srcRect t="52705" r="2709" b="38765"/>
          <a:stretch>
            <a:fillRect/>
          </a:stretch>
        </p:blipFill>
        <p:spPr>
          <a:xfrm>
            <a:off x="8887913" y="5489614"/>
            <a:ext cx="1621848" cy="3655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56" name="Picture 18" descr="Picture 18"/>
          <p:cNvPicPr>
            <a:picLocks noChangeAspect="1"/>
          </p:cNvPicPr>
          <p:nvPr/>
        </p:nvPicPr>
        <p:blipFill>
          <a:blip r:embed="rId8">
            <a:extLst/>
          </a:blip>
          <a:srcRect t="10128" b="81012"/>
          <a:stretch>
            <a:fillRect/>
          </a:stretch>
        </p:blipFill>
        <p:spPr>
          <a:xfrm>
            <a:off x="2915186" y="4226574"/>
            <a:ext cx="1667007" cy="359459"/>
          </a:xfrm>
          <a:prstGeom prst="rect">
            <a:avLst/>
          </a:prstGeom>
          <a:ln w="12700">
            <a:miter lim="400000"/>
          </a:ln>
        </p:spPr>
      </p:pic>
      <p:pic>
        <p:nvPicPr>
          <p:cNvPr id="1557" name="Picture 18" descr="Picture 18"/>
          <p:cNvPicPr>
            <a:picLocks noChangeAspect="1"/>
          </p:cNvPicPr>
          <p:nvPr/>
        </p:nvPicPr>
        <p:blipFill>
          <a:blip r:embed="rId8">
            <a:extLst/>
          </a:blip>
          <a:srcRect b="89458"/>
          <a:stretch>
            <a:fillRect/>
          </a:stretch>
        </p:blipFill>
        <p:spPr>
          <a:xfrm>
            <a:off x="2915186" y="3527433"/>
            <a:ext cx="1667007" cy="427710"/>
          </a:xfrm>
          <a:prstGeom prst="rect">
            <a:avLst/>
          </a:prstGeom>
          <a:ln w="12700">
            <a:miter lim="400000"/>
          </a:ln>
        </p:spPr>
      </p:pic>
      <p:sp>
        <p:nvSpPr>
          <p:cNvPr id="1558" name="Закругленный прямоугольник"/>
          <p:cNvSpPr/>
          <p:nvPr/>
        </p:nvSpPr>
        <p:spPr>
          <a:xfrm>
            <a:off x="549878" y="2512671"/>
            <a:ext cx="823063" cy="823063"/>
          </a:xfrm>
          <a:prstGeom prst="roundRect">
            <a:avLst>
              <a:gd name="adj" fmla="val 15000"/>
            </a:avLst>
          </a:prstGeom>
          <a:solidFill>
            <a:srgbClr val="EFE959"/>
          </a:solidFill>
          <a:ln w="12700">
            <a:miter lim="400000"/>
          </a:ln>
        </p:spPr>
        <p:txBody>
          <a:bodyPr lIns="46670" rIns="46670" anchor="ctr"/>
          <a:lstStyle/>
          <a:p>
            <a:endParaRPr lang="ru-RU" sz="1837" dirty="0">
              <a:latin typeface="PT Sans Caption"/>
            </a:endParaRPr>
          </a:p>
        </p:txBody>
      </p:sp>
      <p:sp>
        <p:nvSpPr>
          <p:cNvPr id="1559" name="1"/>
          <p:cNvSpPr txBox="1"/>
          <p:nvPr/>
        </p:nvSpPr>
        <p:spPr>
          <a:xfrm>
            <a:off x="770344" y="2595267"/>
            <a:ext cx="357144" cy="6578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3600" b="1"/>
            </a:lvl1pPr>
          </a:lstStyle>
          <a:p>
            <a:r>
              <a:rPr lang="ru-RU" sz="3675" dirty="0">
                <a:latin typeface="PT Sans Caption"/>
              </a:rPr>
              <a:t>1</a:t>
            </a:r>
          </a:p>
        </p:txBody>
      </p:sp>
      <p:sp>
        <p:nvSpPr>
          <p:cNvPr id="1560" name="Закругленный прямоугольник"/>
          <p:cNvSpPr/>
          <p:nvPr/>
        </p:nvSpPr>
        <p:spPr>
          <a:xfrm>
            <a:off x="6427239" y="2466259"/>
            <a:ext cx="823062" cy="823063"/>
          </a:xfrm>
          <a:prstGeom prst="roundRect">
            <a:avLst>
              <a:gd name="adj" fmla="val 15000"/>
            </a:avLst>
          </a:prstGeom>
          <a:solidFill>
            <a:srgbClr val="EFE959"/>
          </a:solidFill>
          <a:ln w="12700">
            <a:miter lim="400000"/>
          </a:ln>
        </p:spPr>
        <p:txBody>
          <a:bodyPr lIns="46670" rIns="46670" anchor="ctr"/>
          <a:lstStyle/>
          <a:p>
            <a:endParaRPr lang="ru-RU" sz="1837" dirty="0">
              <a:latin typeface="PT Sans Caption"/>
            </a:endParaRPr>
          </a:p>
        </p:txBody>
      </p:sp>
      <p:sp>
        <p:nvSpPr>
          <p:cNvPr id="1561" name="2"/>
          <p:cNvSpPr txBox="1"/>
          <p:nvPr/>
        </p:nvSpPr>
        <p:spPr>
          <a:xfrm>
            <a:off x="6612671" y="2548855"/>
            <a:ext cx="357144" cy="6578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6670" rIns="46670" anchor="ctr">
            <a:spAutoFit/>
          </a:bodyPr>
          <a:lstStyle>
            <a:lvl1pPr>
              <a:defRPr sz="3600" b="1"/>
            </a:lvl1pPr>
          </a:lstStyle>
          <a:p>
            <a:r>
              <a:rPr lang="ru-RU" sz="3675" dirty="0">
                <a:latin typeface="PT Sans Caption"/>
              </a:rPr>
              <a:t>2</a:t>
            </a:r>
          </a:p>
        </p:txBody>
      </p:sp>
      <p:pic>
        <p:nvPicPr>
          <p:cNvPr id="32" name="Рисунок 46" descr="Рисунок 46">
            <a:extLst>
              <a:ext uri="{FF2B5EF4-FFF2-40B4-BE49-F238E27FC236}">
                <a16:creationId xmlns:a16="http://schemas.microsoft.com/office/drawing/2014/main" xmlns="" id="{2F8746A9-AD71-496B-90F8-06C2885BB16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/>
          </a:blip>
          <a:srcRect l="61425" b="14559"/>
          <a:stretch/>
        </p:blipFill>
        <p:spPr>
          <a:xfrm>
            <a:off x="9546672" y="3491380"/>
            <a:ext cx="607614" cy="398754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Рисунок 46" descr="Рисунок 46">
            <a:extLst>
              <a:ext uri="{FF2B5EF4-FFF2-40B4-BE49-F238E27FC236}">
                <a16:creationId xmlns:a16="http://schemas.microsoft.com/office/drawing/2014/main" xmlns="" id="{4A4818CC-D917-4EFB-8F22-81AACC22AED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/>
          </a:blip>
          <a:srcRect l="61425" b="14559"/>
          <a:stretch/>
        </p:blipFill>
        <p:spPr>
          <a:xfrm>
            <a:off x="4560630" y="4199376"/>
            <a:ext cx="607614" cy="398754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Рисунок 46" descr="Рисунок 46">
            <a:extLst>
              <a:ext uri="{FF2B5EF4-FFF2-40B4-BE49-F238E27FC236}">
                <a16:creationId xmlns:a16="http://schemas.microsoft.com/office/drawing/2014/main" xmlns="" id="{84FCC38D-C906-482E-9B7E-4362A698ACC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/>
          </a:blip>
          <a:srcRect l="61425" b="14559"/>
          <a:stretch/>
        </p:blipFill>
        <p:spPr>
          <a:xfrm>
            <a:off x="9546672" y="4145372"/>
            <a:ext cx="607614" cy="398754"/>
          </a:xfrm>
          <a:prstGeom prst="rect">
            <a:avLst/>
          </a:prstGeom>
          <a:ln w="12700">
            <a:miter lim="400000"/>
          </a:ln>
        </p:spPr>
      </p:pic>
      <p:pic>
        <p:nvPicPr>
          <p:cNvPr id="35" name="Рисунок 46" descr="Рисунок 46">
            <a:extLst>
              <a:ext uri="{FF2B5EF4-FFF2-40B4-BE49-F238E27FC236}">
                <a16:creationId xmlns:a16="http://schemas.microsoft.com/office/drawing/2014/main" xmlns="" id="{022A8B56-F22F-4C55-9317-DEDF7CE5752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/>
          </a:blip>
          <a:srcRect l="61425" b="14559"/>
          <a:stretch/>
        </p:blipFill>
        <p:spPr>
          <a:xfrm>
            <a:off x="9546672" y="4782772"/>
            <a:ext cx="607614" cy="398754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xmlns="" id="{69382520-E7C9-4199-992F-DA53D1D51B66}"/>
              </a:ext>
            </a:extLst>
          </p:cNvPr>
          <p:cNvCxnSpPr>
            <a:cxnSpLocks/>
          </p:cNvCxnSpPr>
          <p:nvPr/>
        </p:nvCxnSpPr>
        <p:spPr>
          <a:xfrm flipV="1">
            <a:off x="4190124" y="4419345"/>
            <a:ext cx="265471" cy="1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957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:a14="http://schemas.microsoft.com/office/drawing/2010/main" xmlns:m="http://schemas.openxmlformats.org/officeDocument/2006/math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11183815" y="0"/>
            <a:ext cx="1008185" cy="109527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" name="Arc 3"/>
          <p:cNvSpPr/>
          <p:nvPr/>
        </p:nvSpPr>
        <p:spPr>
          <a:xfrm>
            <a:off x="-4914227" y="-1870288"/>
            <a:ext cx="10584716" cy="10584716"/>
          </a:xfrm>
          <a:prstGeom prst="arc">
            <a:avLst>
              <a:gd name="adj1" fmla="val 19050420"/>
              <a:gd name="adj2" fmla="val 2629783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8" tIns="45719" rIns="91438" bIns="45719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bg-BG" sz="1200" dirty="0">
              <a:solidFill>
                <a:schemeClr val="bg1"/>
              </a:solidFill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10" name="Text Placeholder 8"/>
          <p:cNvSpPr txBox="1">
            <a:spLocks/>
          </p:cNvSpPr>
          <p:nvPr/>
        </p:nvSpPr>
        <p:spPr>
          <a:xfrm>
            <a:off x="5919004" y="5517014"/>
            <a:ext cx="2992101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36" indent="-283464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28575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3397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Экспортный потенциал</a:t>
            </a:r>
          </a:p>
        </p:txBody>
      </p:sp>
      <p:sp>
        <p:nvSpPr>
          <p:cNvPr id="12" name="Text Placeholder 8"/>
          <p:cNvSpPr txBox="1">
            <a:spLocks/>
          </p:cNvSpPr>
          <p:nvPr/>
        </p:nvSpPr>
        <p:spPr>
          <a:xfrm>
            <a:off x="6305527" y="3127241"/>
            <a:ext cx="2572243" cy="61555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36" indent="-283464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28575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3397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роизводственные </a:t>
            </a:r>
            <a:b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</a:b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ресурсы</a:t>
            </a:r>
          </a:p>
        </p:txBody>
      </p:sp>
      <p:sp>
        <p:nvSpPr>
          <p:cNvPr id="6" name="Oval 5"/>
          <p:cNvSpPr/>
          <p:nvPr/>
        </p:nvSpPr>
        <p:spPr>
          <a:xfrm>
            <a:off x="4709273" y="731128"/>
            <a:ext cx="936000" cy="936000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5085386" y="1849073"/>
            <a:ext cx="936000" cy="936000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7" name="Oval 76"/>
          <p:cNvSpPr/>
          <p:nvPr/>
        </p:nvSpPr>
        <p:spPr>
          <a:xfrm>
            <a:off x="5187462" y="2967017"/>
            <a:ext cx="936000" cy="936000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5067116" y="4084960"/>
            <a:ext cx="936000" cy="936000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4690445" y="5202903"/>
            <a:ext cx="936000" cy="936000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6225063" y="4399072"/>
            <a:ext cx="2055050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36" indent="-283464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28575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3397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роекты в ЕАЭС</a:t>
            </a:r>
          </a:p>
        </p:txBody>
      </p:sp>
      <p:sp>
        <p:nvSpPr>
          <p:cNvPr id="15" name="Text Placeholder 8"/>
          <p:cNvSpPr txBox="1">
            <a:spLocks/>
          </p:cNvSpPr>
          <p:nvPr/>
        </p:nvSpPr>
        <p:spPr>
          <a:xfrm>
            <a:off x="5926222" y="1045240"/>
            <a:ext cx="2075248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36" indent="-283464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28575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3397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Команда и опыт</a:t>
            </a:r>
          </a:p>
        </p:txBody>
      </p:sp>
      <p:sp>
        <p:nvSpPr>
          <p:cNvPr id="16" name="Text Placeholder 8"/>
          <p:cNvSpPr txBox="1">
            <a:spLocks/>
          </p:cNvSpPr>
          <p:nvPr/>
        </p:nvSpPr>
        <p:spPr>
          <a:xfrm>
            <a:off x="6222953" y="2009296"/>
            <a:ext cx="1718932" cy="61555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36" indent="-283464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0100" indent="-28575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" indent="-3397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5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6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Финансовые </a:t>
            </a:r>
            <a:b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</a:br>
            <a:r>
              <a:rPr lang="bg-BG" sz="20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ресурсы</a:t>
            </a:r>
          </a:p>
        </p:txBody>
      </p:sp>
      <p:pic>
        <p:nvPicPr>
          <p:cNvPr id="17" name="Picture 4" descr="https://static.tildacdn.com/tild6261-3765-4535-b966-313961316539/noroot.PN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131" y="2558190"/>
            <a:ext cx="4301043" cy="1741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AutoShape 30">
            <a:extLst>
              <a:ext uri="{FF2B5EF4-FFF2-40B4-BE49-F238E27FC236}">
                <a16:creationId xmlns:a16="http://schemas.microsoft.com/office/drawing/2014/main" xmlns="" id="{6DA96174-ED01-482E-87E4-4374F4DA753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258206" y="4275794"/>
            <a:ext cx="553818" cy="554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bg-BG" dirty="0"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551035" y="373548"/>
            <a:ext cx="2074286" cy="10926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bg-BG" sz="14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Разработка ПО</a:t>
            </a:r>
          </a:p>
          <a:p>
            <a:pPr>
              <a:spcBef>
                <a:spcPts val="60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bg-BG" sz="14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Массовое обслуживание</a:t>
            </a:r>
          </a:p>
          <a:p>
            <a:pPr>
              <a:spcBef>
                <a:spcPts val="60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bg-BG" sz="14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Большие данные</a:t>
            </a:r>
          </a:p>
          <a:p>
            <a:pPr>
              <a:spcBef>
                <a:spcPts val="600"/>
              </a:spcBef>
              <a:buSzPct val="100000"/>
              <a:buFont typeface="Trebuchet MS" panose="020B0603020202020204" pitchFamily="34" charset="0"/>
              <a:buChar char="​"/>
            </a:pPr>
            <a:r>
              <a:rPr lang="bg-BG" sz="14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Фискальные накопители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8501063" y="345492"/>
            <a:ext cx="0" cy="1668163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 flipV="1">
            <a:off x="8098971" y="1208314"/>
            <a:ext cx="402092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/>
          <p:cNvPicPr>
            <a:picLocks noChangeAspect="1"/>
          </p:cNvPicPr>
          <p:nvPr/>
        </p:nvPicPr>
        <p:blipFill>
          <a:blip r:embed="rId9">
            <a:grayscl/>
          </a:blip>
          <a:stretch>
            <a:fillRect/>
          </a:stretch>
        </p:blipFill>
        <p:spPr>
          <a:xfrm>
            <a:off x="8880664" y="2110836"/>
            <a:ext cx="494649" cy="602181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0">
            <a:grayscl/>
          </a:blip>
          <a:stretch>
            <a:fillRect/>
          </a:stretch>
        </p:blipFill>
        <p:spPr>
          <a:xfrm>
            <a:off x="8913999" y="3115647"/>
            <a:ext cx="461314" cy="638741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1">
            <a:grayscl/>
          </a:blip>
          <a:stretch>
            <a:fillRect/>
          </a:stretch>
        </p:blipFill>
        <p:spPr>
          <a:xfrm>
            <a:off x="8561167" y="680274"/>
            <a:ext cx="859318" cy="237911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12">
            <a:grayscl/>
          </a:blip>
          <a:stretch>
            <a:fillRect/>
          </a:stretch>
        </p:blipFill>
        <p:spPr>
          <a:xfrm>
            <a:off x="8561167" y="987585"/>
            <a:ext cx="859318" cy="24604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3">
            <a:grayscl/>
          </a:blip>
          <a:stretch>
            <a:fillRect/>
          </a:stretch>
        </p:blipFill>
        <p:spPr>
          <a:xfrm>
            <a:off x="8570998" y="1368376"/>
            <a:ext cx="859318" cy="237911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4">
            <a:grayscl/>
          </a:blip>
          <a:stretch>
            <a:fillRect/>
          </a:stretch>
        </p:blipFill>
        <p:spPr>
          <a:xfrm>
            <a:off x="8561167" y="363964"/>
            <a:ext cx="859318" cy="280277"/>
          </a:xfrm>
          <a:prstGeom prst="rect">
            <a:avLst/>
          </a:prstGeom>
        </p:spPr>
      </p:pic>
      <p:sp>
        <p:nvSpPr>
          <p:cNvPr id="53" name="Rectangle 52"/>
          <p:cNvSpPr/>
          <p:nvPr/>
        </p:nvSpPr>
        <p:spPr>
          <a:xfrm>
            <a:off x="11131826" y="6211957"/>
            <a:ext cx="924339" cy="487017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sz="1200" dirty="0">
              <a:solidFill>
                <a:srgbClr val="FFFFFF"/>
              </a:solidFill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grpSp>
        <p:nvGrpSpPr>
          <p:cNvPr id="52" name="Group 51"/>
          <p:cNvGrpSpPr>
            <a:grpSpLocks noChangeAspect="1"/>
          </p:cNvGrpSpPr>
          <p:nvPr/>
        </p:nvGrpSpPr>
        <p:grpSpPr>
          <a:xfrm>
            <a:off x="4835489" y="857027"/>
            <a:ext cx="683568" cy="684202"/>
            <a:chOff x="5273801" y="2606040"/>
            <a:chExt cx="1644396" cy="1645920"/>
          </a:xfrm>
        </p:grpSpPr>
        <p:sp>
          <p:nvSpPr>
            <p:cNvPr id="54" name="AutoShape 13">
              <a:extLst>
                <a:ext uri="{FF2B5EF4-FFF2-40B4-BE49-F238E27FC236}">
                  <a16:creationId xmlns:a16="http://schemas.microsoft.com/office/drawing/2014/main" xmlns="" id="{5F0436A7-3F34-4DD1-9FEA-705575C341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5532119" y="2838831"/>
              <a:ext cx="1148334" cy="1240917"/>
              <a:chOff x="5532119" y="2838831"/>
              <a:chExt cx="1148334" cy="1240917"/>
            </a:xfrm>
          </p:grpSpPr>
          <p:sp>
            <p:nvSpPr>
              <p:cNvPr id="56" name="Freeform 15">
                <a:extLst>
                  <a:ext uri="{FF2B5EF4-FFF2-40B4-BE49-F238E27FC236}">
                    <a16:creationId xmlns:a16="http://schemas.microsoft.com/office/drawing/2014/main" xmlns="" id="{373151E8-9F61-4C18-B850-43002F74C3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6998" y="2838831"/>
                <a:ext cx="938403" cy="951738"/>
              </a:xfrm>
              <a:custGeom>
                <a:avLst/>
                <a:gdLst>
                  <a:gd name="T0" fmla="*/ 1188 w 1315"/>
                  <a:gd name="T1" fmla="*/ 484 h 1332"/>
                  <a:gd name="T2" fmla="*/ 658 w 1315"/>
                  <a:gd name="T3" fmla="*/ 874 h 1332"/>
                  <a:gd name="T4" fmla="*/ 557 w 1315"/>
                  <a:gd name="T5" fmla="*/ 878 h 1332"/>
                  <a:gd name="T6" fmla="*/ 373 w 1315"/>
                  <a:gd name="T7" fmla="*/ 1066 h 1332"/>
                  <a:gd name="T8" fmla="*/ 374 w 1315"/>
                  <a:gd name="T9" fmla="*/ 1324 h 1332"/>
                  <a:gd name="T10" fmla="*/ 74 w 1315"/>
                  <a:gd name="T11" fmla="*/ 707 h 1332"/>
                  <a:gd name="T12" fmla="*/ 131 w 1315"/>
                  <a:gd name="T13" fmla="*/ 741 h 1332"/>
                  <a:gd name="T14" fmla="*/ 216 w 1315"/>
                  <a:gd name="T15" fmla="*/ 718 h 1332"/>
                  <a:gd name="T16" fmla="*/ 297 w 1315"/>
                  <a:gd name="T17" fmla="*/ 680 h 1332"/>
                  <a:gd name="T18" fmla="*/ 363 w 1315"/>
                  <a:gd name="T19" fmla="*/ 625 h 1332"/>
                  <a:gd name="T20" fmla="*/ 414 w 1315"/>
                  <a:gd name="T21" fmla="*/ 552 h 1332"/>
                  <a:gd name="T22" fmla="*/ 452 w 1315"/>
                  <a:gd name="T23" fmla="*/ 472 h 1332"/>
                  <a:gd name="T24" fmla="*/ 414 w 1315"/>
                  <a:gd name="T25" fmla="*/ 419 h 1332"/>
                  <a:gd name="T26" fmla="*/ 494 w 1315"/>
                  <a:gd name="T27" fmla="*/ 407 h 1332"/>
                  <a:gd name="T28" fmla="*/ 547 w 1315"/>
                  <a:gd name="T29" fmla="*/ 398 h 1332"/>
                  <a:gd name="T30" fmla="*/ 622 w 1315"/>
                  <a:gd name="T31" fmla="*/ 430 h 1332"/>
                  <a:gd name="T32" fmla="*/ 687 w 1315"/>
                  <a:gd name="T33" fmla="*/ 411 h 1332"/>
                  <a:gd name="T34" fmla="*/ 691 w 1315"/>
                  <a:gd name="T35" fmla="*/ 409 h 1332"/>
                  <a:gd name="T36" fmla="*/ 750 w 1315"/>
                  <a:gd name="T37" fmla="*/ 374 h 1332"/>
                  <a:gd name="T38" fmla="*/ 778 w 1315"/>
                  <a:gd name="T39" fmla="*/ 297 h 1332"/>
                  <a:gd name="T40" fmla="*/ 819 w 1315"/>
                  <a:gd name="T41" fmla="*/ 266 h 1332"/>
                  <a:gd name="T42" fmla="*/ 1278 w 1315"/>
                  <a:gd name="T43" fmla="*/ 288 h 1332"/>
                  <a:gd name="T44" fmla="*/ 786 w 1315"/>
                  <a:gd name="T45" fmla="*/ 171 h 1332"/>
                  <a:gd name="T46" fmla="*/ 748 w 1315"/>
                  <a:gd name="T47" fmla="*/ 261 h 1332"/>
                  <a:gd name="T48" fmla="*/ 706 w 1315"/>
                  <a:gd name="T49" fmla="*/ 350 h 1332"/>
                  <a:gd name="T50" fmla="*/ 634 w 1315"/>
                  <a:gd name="T51" fmla="*/ 382 h 1332"/>
                  <a:gd name="T52" fmla="*/ 541 w 1315"/>
                  <a:gd name="T53" fmla="*/ 351 h 1332"/>
                  <a:gd name="T54" fmla="*/ 449 w 1315"/>
                  <a:gd name="T55" fmla="*/ 318 h 1332"/>
                  <a:gd name="T56" fmla="*/ 442 w 1315"/>
                  <a:gd name="T57" fmla="*/ 258 h 1332"/>
                  <a:gd name="T58" fmla="*/ 403 w 1315"/>
                  <a:gd name="T59" fmla="*/ 209 h 1332"/>
                  <a:gd name="T60" fmla="*/ 445 w 1315"/>
                  <a:gd name="T61" fmla="*/ 116 h 1332"/>
                  <a:gd name="T62" fmla="*/ 483 w 1315"/>
                  <a:gd name="T63" fmla="*/ 33 h 1332"/>
                  <a:gd name="T64" fmla="*/ 558 w 1315"/>
                  <a:gd name="T65" fmla="*/ 0 h 1332"/>
                  <a:gd name="T66" fmla="*/ 644 w 1315"/>
                  <a:gd name="T67" fmla="*/ 30 h 1332"/>
                  <a:gd name="T68" fmla="*/ 738 w 1315"/>
                  <a:gd name="T69" fmla="*/ 62 h 1332"/>
                  <a:gd name="T70" fmla="*/ 749 w 1315"/>
                  <a:gd name="T71" fmla="*/ 124 h 1332"/>
                  <a:gd name="T72" fmla="*/ 786 w 1315"/>
                  <a:gd name="T73" fmla="*/ 171 h 1332"/>
                  <a:gd name="T74" fmla="*/ 672 w 1315"/>
                  <a:gd name="T75" fmla="*/ 157 h 1332"/>
                  <a:gd name="T76" fmla="*/ 518 w 1315"/>
                  <a:gd name="T77" fmla="*/ 225 h 1332"/>
                  <a:gd name="T78" fmla="*/ 176 w 1315"/>
                  <a:gd name="T79" fmla="*/ 365 h 1332"/>
                  <a:gd name="T80" fmla="*/ 0 w 1315"/>
                  <a:gd name="T81" fmla="*/ 365 h 1332"/>
                  <a:gd name="T82" fmla="*/ 176 w 1315"/>
                  <a:gd name="T83" fmla="*/ 365 h 1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15" h="1332">
                    <a:moveTo>
                      <a:pt x="1192" y="480"/>
                    </a:moveTo>
                    <a:cubicBezTo>
                      <a:pt x="1191" y="482"/>
                      <a:pt x="1190" y="483"/>
                      <a:pt x="1188" y="484"/>
                    </a:cubicBezTo>
                    <a:cubicBezTo>
                      <a:pt x="1149" y="497"/>
                      <a:pt x="936" y="471"/>
                      <a:pt x="793" y="575"/>
                    </a:cubicBezTo>
                    <a:cubicBezTo>
                      <a:pt x="716" y="630"/>
                      <a:pt x="658" y="720"/>
                      <a:pt x="658" y="874"/>
                    </a:cubicBezTo>
                    <a:cubicBezTo>
                      <a:pt x="658" y="895"/>
                      <a:pt x="581" y="885"/>
                      <a:pt x="562" y="883"/>
                    </a:cubicBezTo>
                    <a:cubicBezTo>
                      <a:pt x="560" y="882"/>
                      <a:pt x="558" y="881"/>
                      <a:pt x="557" y="878"/>
                    </a:cubicBezTo>
                    <a:cubicBezTo>
                      <a:pt x="553" y="846"/>
                      <a:pt x="517" y="642"/>
                      <a:pt x="374" y="718"/>
                    </a:cubicBezTo>
                    <a:cubicBezTo>
                      <a:pt x="238" y="787"/>
                      <a:pt x="364" y="1046"/>
                      <a:pt x="373" y="1066"/>
                    </a:cubicBezTo>
                    <a:cubicBezTo>
                      <a:pt x="374" y="1066"/>
                      <a:pt x="374" y="1067"/>
                      <a:pt x="374" y="1068"/>
                    </a:cubicBezTo>
                    <a:cubicBezTo>
                      <a:pt x="374" y="1324"/>
                      <a:pt x="374" y="1324"/>
                      <a:pt x="374" y="1324"/>
                    </a:cubicBezTo>
                    <a:cubicBezTo>
                      <a:pt x="374" y="1329"/>
                      <a:pt x="368" y="1332"/>
                      <a:pt x="365" y="1328"/>
                    </a:cubicBezTo>
                    <a:cubicBezTo>
                      <a:pt x="310" y="1278"/>
                      <a:pt x="39" y="1009"/>
                      <a:pt x="74" y="707"/>
                    </a:cubicBezTo>
                    <a:cubicBezTo>
                      <a:pt x="88" y="691"/>
                      <a:pt x="88" y="691"/>
                      <a:pt x="88" y="691"/>
                    </a:cubicBezTo>
                    <a:cubicBezTo>
                      <a:pt x="131" y="741"/>
                      <a:pt x="131" y="741"/>
                      <a:pt x="131" y="741"/>
                    </a:cubicBezTo>
                    <a:cubicBezTo>
                      <a:pt x="170" y="732"/>
                      <a:pt x="170" y="732"/>
                      <a:pt x="170" y="732"/>
                    </a:cubicBezTo>
                    <a:cubicBezTo>
                      <a:pt x="192" y="727"/>
                      <a:pt x="215" y="718"/>
                      <a:pt x="216" y="718"/>
                    </a:cubicBezTo>
                    <a:cubicBezTo>
                      <a:pt x="218" y="717"/>
                      <a:pt x="241" y="709"/>
                      <a:pt x="261" y="698"/>
                    </a:cubicBezTo>
                    <a:cubicBezTo>
                      <a:pt x="297" y="680"/>
                      <a:pt x="297" y="680"/>
                      <a:pt x="297" y="680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363" y="625"/>
                      <a:pt x="363" y="625"/>
                      <a:pt x="363" y="625"/>
                    </a:cubicBezTo>
                    <a:cubicBezTo>
                      <a:pt x="387" y="593"/>
                      <a:pt x="387" y="593"/>
                      <a:pt x="387" y="593"/>
                    </a:cubicBezTo>
                    <a:cubicBezTo>
                      <a:pt x="400" y="576"/>
                      <a:pt x="412" y="555"/>
                      <a:pt x="414" y="552"/>
                    </a:cubicBezTo>
                    <a:cubicBezTo>
                      <a:pt x="415" y="550"/>
                      <a:pt x="427" y="529"/>
                      <a:pt x="436" y="509"/>
                    </a:cubicBezTo>
                    <a:cubicBezTo>
                      <a:pt x="452" y="472"/>
                      <a:pt x="452" y="472"/>
                      <a:pt x="452" y="472"/>
                    </a:cubicBezTo>
                    <a:cubicBezTo>
                      <a:pt x="413" y="424"/>
                      <a:pt x="413" y="424"/>
                      <a:pt x="413" y="424"/>
                    </a:cubicBezTo>
                    <a:cubicBezTo>
                      <a:pt x="413" y="422"/>
                      <a:pt x="413" y="420"/>
                      <a:pt x="414" y="419"/>
                    </a:cubicBezTo>
                    <a:cubicBezTo>
                      <a:pt x="464" y="389"/>
                      <a:pt x="464" y="389"/>
                      <a:pt x="464" y="389"/>
                    </a:cubicBezTo>
                    <a:cubicBezTo>
                      <a:pt x="473" y="395"/>
                      <a:pt x="483" y="401"/>
                      <a:pt x="494" y="407"/>
                    </a:cubicBezTo>
                    <a:cubicBezTo>
                      <a:pt x="515" y="417"/>
                      <a:pt x="515" y="417"/>
                      <a:pt x="515" y="417"/>
                    </a:cubicBezTo>
                    <a:cubicBezTo>
                      <a:pt x="547" y="398"/>
                      <a:pt x="547" y="398"/>
                      <a:pt x="547" y="398"/>
                    </a:cubicBezTo>
                    <a:cubicBezTo>
                      <a:pt x="562" y="402"/>
                      <a:pt x="578" y="404"/>
                      <a:pt x="593" y="404"/>
                    </a:cubicBezTo>
                    <a:cubicBezTo>
                      <a:pt x="622" y="430"/>
                      <a:pt x="622" y="430"/>
                      <a:pt x="622" y="430"/>
                    </a:cubicBezTo>
                    <a:cubicBezTo>
                      <a:pt x="644" y="424"/>
                      <a:pt x="644" y="424"/>
                      <a:pt x="644" y="424"/>
                    </a:cubicBezTo>
                    <a:cubicBezTo>
                      <a:pt x="659" y="421"/>
                      <a:pt x="674" y="416"/>
                      <a:pt x="687" y="411"/>
                    </a:cubicBezTo>
                    <a:cubicBezTo>
                      <a:pt x="689" y="410"/>
                      <a:pt x="689" y="410"/>
                      <a:pt x="689" y="410"/>
                    </a:cubicBezTo>
                    <a:cubicBezTo>
                      <a:pt x="691" y="409"/>
                      <a:pt x="691" y="409"/>
                      <a:pt x="691" y="409"/>
                    </a:cubicBezTo>
                    <a:cubicBezTo>
                      <a:pt x="704" y="403"/>
                      <a:pt x="717" y="396"/>
                      <a:pt x="730" y="387"/>
                    </a:cubicBezTo>
                    <a:cubicBezTo>
                      <a:pt x="750" y="374"/>
                      <a:pt x="750" y="374"/>
                      <a:pt x="750" y="374"/>
                    </a:cubicBezTo>
                    <a:cubicBezTo>
                      <a:pt x="750" y="336"/>
                      <a:pt x="750" y="336"/>
                      <a:pt x="750" y="336"/>
                    </a:cubicBezTo>
                    <a:cubicBezTo>
                      <a:pt x="761" y="324"/>
                      <a:pt x="770" y="311"/>
                      <a:pt x="778" y="297"/>
                    </a:cubicBezTo>
                    <a:cubicBezTo>
                      <a:pt x="812" y="287"/>
                      <a:pt x="812" y="287"/>
                      <a:pt x="812" y="287"/>
                    </a:cubicBezTo>
                    <a:cubicBezTo>
                      <a:pt x="819" y="266"/>
                      <a:pt x="819" y="266"/>
                      <a:pt x="819" y="266"/>
                    </a:cubicBezTo>
                    <a:cubicBezTo>
                      <a:pt x="826" y="247"/>
                      <a:pt x="830" y="227"/>
                      <a:pt x="831" y="206"/>
                    </a:cubicBezTo>
                    <a:cubicBezTo>
                      <a:pt x="1027" y="228"/>
                      <a:pt x="990" y="293"/>
                      <a:pt x="1278" y="288"/>
                    </a:cubicBezTo>
                    <a:cubicBezTo>
                      <a:pt x="1315" y="288"/>
                      <a:pt x="1210" y="404"/>
                      <a:pt x="1192" y="480"/>
                    </a:cubicBezTo>
                    <a:close/>
                    <a:moveTo>
                      <a:pt x="786" y="171"/>
                    </a:moveTo>
                    <a:cubicBezTo>
                      <a:pt x="789" y="198"/>
                      <a:pt x="786" y="226"/>
                      <a:pt x="778" y="251"/>
                    </a:cubicBezTo>
                    <a:cubicBezTo>
                      <a:pt x="778" y="251"/>
                      <a:pt x="778" y="251"/>
                      <a:pt x="748" y="261"/>
                    </a:cubicBezTo>
                    <a:cubicBezTo>
                      <a:pt x="738" y="282"/>
                      <a:pt x="724" y="302"/>
                      <a:pt x="706" y="318"/>
                    </a:cubicBezTo>
                    <a:cubicBezTo>
                      <a:pt x="706" y="318"/>
                      <a:pt x="706" y="318"/>
                      <a:pt x="706" y="350"/>
                    </a:cubicBezTo>
                    <a:cubicBezTo>
                      <a:pt x="695" y="357"/>
                      <a:pt x="683" y="364"/>
                      <a:pt x="671" y="370"/>
                    </a:cubicBezTo>
                    <a:cubicBezTo>
                      <a:pt x="659" y="375"/>
                      <a:pt x="646" y="379"/>
                      <a:pt x="634" y="382"/>
                    </a:cubicBezTo>
                    <a:cubicBezTo>
                      <a:pt x="634" y="382"/>
                      <a:pt x="634" y="382"/>
                      <a:pt x="610" y="360"/>
                    </a:cubicBezTo>
                    <a:cubicBezTo>
                      <a:pt x="586" y="362"/>
                      <a:pt x="563" y="359"/>
                      <a:pt x="541" y="351"/>
                    </a:cubicBezTo>
                    <a:cubicBezTo>
                      <a:pt x="541" y="351"/>
                      <a:pt x="541" y="351"/>
                      <a:pt x="513" y="367"/>
                    </a:cubicBezTo>
                    <a:cubicBezTo>
                      <a:pt x="489" y="355"/>
                      <a:pt x="468" y="339"/>
                      <a:pt x="449" y="318"/>
                    </a:cubicBezTo>
                    <a:cubicBezTo>
                      <a:pt x="449" y="318"/>
                      <a:pt x="449" y="318"/>
                      <a:pt x="457" y="287"/>
                    </a:cubicBezTo>
                    <a:cubicBezTo>
                      <a:pt x="451" y="278"/>
                      <a:pt x="446" y="268"/>
                      <a:pt x="442" y="258"/>
                    </a:cubicBezTo>
                    <a:cubicBezTo>
                      <a:pt x="436" y="247"/>
                      <a:pt x="433" y="235"/>
                      <a:pt x="431" y="225"/>
                    </a:cubicBezTo>
                    <a:cubicBezTo>
                      <a:pt x="431" y="225"/>
                      <a:pt x="431" y="225"/>
                      <a:pt x="403" y="209"/>
                    </a:cubicBezTo>
                    <a:cubicBezTo>
                      <a:pt x="401" y="180"/>
                      <a:pt x="405" y="152"/>
                      <a:pt x="414" y="126"/>
                    </a:cubicBezTo>
                    <a:cubicBezTo>
                      <a:pt x="414" y="126"/>
                      <a:pt x="414" y="126"/>
                      <a:pt x="445" y="116"/>
                    </a:cubicBezTo>
                    <a:cubicBezTo>
                      <a:pt x="454" y="97"/>
                      <a:pt x="467" y="81"/>
                      <a:pt x="483" y="66"/>
                    </a:cubicBezTo>
                    <a:cubicBezTo>
                      <a:pt x="483" y="66"/>
                      <a:pt x="483" y="66"/>
                      <a:pt x="483" y="33"/>
                    </a:cubicBezTo>
                    <a:cubicBezTo>
                      <a:pt x="494" y="25"/>
                      <a:pt x="506" y="18"/>
                      <a:pt x="519" y="13"/>
                    </a:cubicBezTo>
                    <a:cubicBezTo>
                      <a:pt x="532" y="7"/>
                      <a:pt x="546" y="3"/>
                      <a:pt x="558" y="0"/>
                    </a:cubicBezTo>
                    <a:cubicBezTo>
                      <a:pt x="558" y="0"/>
                      <a:pt x="558" y="0"/>
                      <a:pt x="583" y="22"/>
                    </a:cubicBezTo>
                    <a:cubicBezTo>
                      <a:pt x="604" y="21"/>
                      <a:pt x="624" y="23"/>
                      <a:pt x="644" y="30"/>
                    </a:cubicBezTo>
                    <a:cubicBezTo>
                      <a:pt x="644" y="30"/>
                      <a:pt x="644" y="30"/>
                      <a:pt x="673" y="14"/>
                    </a:cubicBezTo>
                    <a:cubicBezTo>
                      <a:pt x="697" y="24"/>
                      <a:pt x="720" y="41"/>
                      <a:pt x="738" y="62"/>
                    </a:cubicBezTo>
                    <a:cubicBezTo>
                      <a:pt x="738" y="62"/>
                      <a:pt x="738" y="62"/>
                      <a:pt x="732" y="93"/>
                    </a:cubicBezTo>
                    <a:cubicBezTo>
                      <a:pt x="738" y="103"/>
                      <a:pt x="744" y="113"/>
                      <a:pt x="749" y="124"/>
                    </a:cubicBezTo>
                    <a:cubicBezTo>
                      <a:pt x="753" y="134"/>
                      <a:pt x="756" y="144"/>
                      <a:pt x="759" y="154"/>
                    </a:cubicBezTo>
                    <a:cubicBezTo>
                      <a:pt x="759" y="154"/>
                      <a:pt x="759" y="154"/>
                      <a:pt x="786" y="171"/>
                    </a:cubicBezTo>
                    <a:close/>
                    <a:moveTo>
                      <a:pt x="629" y="269"/>
                    </a:moveTo>
                    <a:cubicBezTo>
                      <a:pt x="671" y="251"/>
                      <a:pt x="691" y="200"/>
                      <a:pt x="672" y="157"/>
                    </a:cubicBezTo>
                    <a:cubicBezTo>
                      <a:pt x="654" y="114"/>
                      <a:pt x="604" y="95"/>
                      <a:pt x="561" y="113"/>
                    </a:cubicBezTo>
                    <a:cubicBezTo>
                      <a:pt x="519" y="132"/>
                      <a:pt x="499" y="181"/>
                      <a:pt x="518" y="225"/>
                    </a:cubicBezTo>
                    <a:cubicBezTo>
                      <a:pt x="536" y="268"/>
                      <a:pt x="586" y="288"/>
                      <a:pt x="629" y="269"/>
                    </a:cubicBezTo>
                    <a:close/>
                    <a:moveTo>
                      <a:pt x="176" y="365"/>
                    </a:moveTo>
                    <a:cubicBezTo>
                      <a:pt x="176" y="316"/>
                      <a:pt x="137" y="277"/>
                      <a:pt x="88" y="277"/>
                    </a:cubicBezTo>
                    <a:cubicBezTo>
                      <a:pt x="39" y="277"/>
                      <a:pt x="0" y="316"/>
                      <a:pt x="0" y="365"/>
                    </a:cubicBezTo>
                    <a:cubicBezTo>
                      <a:pt x="0" y="414"/>
                      <a:pt x="39" y="454"/>
                      <a:pt x="88" y="454"/>
                    </a:cubicBezTo>
                    <a:cubicBezTo>
                      <a:pt x="137" y="454"/>
                      <a:pt x="176" y="414"/>
                      <a:pt x="176" y="365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57" name="Freeform 16">
                <a:extLst>
                  <a:ext uri="{FF2B5EF4-FFF2-40B4-BE49-F238E27FC236}">
                    <a16:creationId xmlns:a16="http://schemas.microsoft.com/office/drawing/2014/main" xmlns="" id="{1FC1A084-CD0E-4A84-9B18-6C55135745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119" y="2860929"/>
                <a:ext cx="1148334" cy="1218819"/>
              </a:xfrm>
              <a:custGeom>
                <a:avLst/>
                <a:gdLst>
                  <a:gd name="T0" fmla="*/ 1458 w 1609"/>
                  <a:gd name="T1" fmla="*/ 1072 h 1706"/>
                  <a:gd name="T2" fmla="*/ 1428 w 1609"/>
                  <a:gd name="T3" fmla="*/ 1421 h 1706"/>
                  <a:gd name="T4" fmla="*/ 1124 w 1609"/>
                  <a:gd name="T5" fmla="*/ 1706 h 1706"/>
                  <a:gd name="T6" fmla="*/ 574 w 1609"/>
                  <a:gd name="T7" fmla="*/ 1592 h 1706"/>
                  <a:gd name="T8" fmla="*/ 579 w 1609"/>
                  <a:gd name="T9" fmla="*/ 1329 h 1706"/>
                  <a:gd name="T10" fmla="*/ 1102 w 1609"/>
                  <a:gd name="T11" fmla="*/ 1662 h 1706"/>
                  <a:gd name="T12" fmla="*/ 1127 w 1609"/>
                  <a:gd name="T13" fmla="*/ 1388 h 1706"/>
                  <a:gd name="T14" fmla="*/ 1424 w 1609"/>
                  <a:gd name="T15" fmla="*/ 1267 h 1706"/>
                  <a:gd name="T16" fmla="*/ 1436 w 1609"/>
                  <a:gd name="T17" fmla="*/ 1027 h 1706"/>
                  <a:gd name="T18" fmla="*/ 1492 w 1609"/>
                  <a:gd name="T19" fmla="*/ 910 h 1706"/>
                  <a:gd name="T20" fmla="*/ 1402 w 1609"/>
                  <a:gd name="T21" fmla="*/ 630 h 1706"/>
                  <a:gd name="T22" fmla="*/ 1444 w 1609"/>
                  <a:gd name="T23" fmla="*/ 616 h 1706"/>
                  <a:gd name="T24" fmla="*/ 1525 w 1609"/>
                  <a:gd name="T25" fmla="*/ 880 h 1706"/>
                  <a:gd name="T26" fmla="*/ 405 w 1609"/>
                  <a:gd name="T27" fmla="*/ 658 h 1706"/>
                  <a:gd name="T28" fmla="*/ 498 w 1609"/>
                  <a:gd name="T29" fmla="*/ 622 h 1706"/>
                  <a:gd name="T30" fmla="*/ 589 w 1609"/>
                  <a:gd name="T31" fmla="*/ 546 h 1706"/>
                  <a:gd name="T32" fmla="*/ 640 w 1609"/>
                  <a:gd name="T33" fmla="*/ 460 h 1706"/>
                  <a:gd name="T34" fmla="*/ 618 w 1609"/>
                  <a:gd name="T35" fmla="*/ 360 h 1706"/>
                  <a:gd name="T36" fmla="*/ 660 w 1609"/>
                  <a:gd name="T37" fmla="*/ 275 h 1706"/>
                  <a:gd name="T38" fmla="*/ 588 w 1609"/>
                  <a:gd name="T39" fmla="*/ 209 h 1706"/>
                  <a:gd name="T40" fmla="*/ 579 w 1609"/>
                  <a:gd name="T41" fmla="*/ 108 h 1706"/>
                  <a:gd name="T42" fmla="*/ 501 w 1609"/>
                  <a:gd name="T43" fmla="*/ 45 h 1706"/>
                  <a:gd name="T44" fmla="*/ 390 w 1609"/>
                  <a:gd name="T45" fmla="*/ 4 h 1706"/>
                  <a:gd name="T46" fmla="*/ 290 w 1609"/>
                  <a:gd name="T47" fmla="*/ 3 h 1706"/>
                  <a:gd name="T48" fmla="*/ 225 w 1609"/>
                  <a:gd name="T49" fmla="*/ 78 h 1706"/>
                  <a:gd name="T50" fmla="*/ 119 w 1609"/>
                  <a:gd name="T51" fmla="*/ 78 h 1706"/>
                  <a:gd name="T52" fmla="*/ 99 w 1609"/>
                  <a:gd name="T53" fmla="*/ 176 h 1706"/>
                  <a:gd name="T54" fmla="*/ 16 w 1609"/>
                  <a:gd name="T55" fmla="*/ 232 h 1706"/>
                  <a:gd name="T56" fmla="*/ 0 w 1609"/>
                  <a:gd name="T57" fmla="*/ 332 h 1706"/>
                  <a:gd name="T58" fmla="*/ 20 w 1609"/>
                  <a:gd name="T59" fmla="*/ 448 h 1706"/>
                  <a:gd name="T60" fmla="*/ 69 w 1609"/>
                  <a:gd name="T61" fmla="*/ 535 h 1706"/>
                  <a:gd name="T62" fmla="*/ 166 w 1609"/>
                  <a:gd name="T63" fmla="*/ 559 h 1706"/>
                  <a:gd name="T64" fmla="*/ 219 w 1609"/>
                  <a:gd name="T65" fmla="*/ 645 h 1706"/>
                  <a:gd name="T66" fmla="*/ 317 w 1609"/>
                  <a:gd name="T67" fmla="*/ 610 h 1706"/>
                  <a:gd name="T68" fmla="*/ 405 w 1609"/>
                  <a:gd name="T69" fmla="*/ 658 h 1706"/>
                  <a:gd name="T70" fmla="*/ 299 w 1609"/>
                  <a:gd name="T71" fmla="*/ 564 h 1706"/>
                  <a:gd name="T72" fmla="*/ 211 w 1609"/>
                  <a:gd name="T73" fmla="*/ 594 h 1706"/>
                  <a:gd name="T74" fmla="*/ 160 w 1609"/>
                  <a:gd name="T75" fmla="*/ 497 h 1706"/>
                  <a:gd name="T76" fmla="*/ 83 w 1609"/>
                  <a:gd name="T77" fmla="*/ 477 h 1706"/>
                  <a:gd name="T78" fmla="*/ 101 w 1609"/>
                  <a:gd name="T79" fmla="*/ 402 h 1706"/>
                  <a:gd name="T80" fmla="*/ 45 w 1609"/>
                  <a:gd name="T81" fmla="*/ 308 h 1706"/>
                  <a:gd name="T82" fmla="*/ 108 w 1609"/>
                  <a:gd name="T83" fmla="*/ 248 h 1706"/>
                  <a:gd name="T84" fmla="*/ 148 w 1609"/>
                  <a:gd name="T85" fmla="*/ 184 h 1706"/>
                  <a:gd name="T86" fmla="*/ 168 w 1609"/>
                  <a:gd name="T87" fmla="*/ 96 h 1706"/>
                  <a:gd name="T88" fmla="*/ 274 w 1609"/>
                  <a:gd name="T89" fmla="*/ 109 h 1706"/>
                  <a:gd name="T90" fmla="*/ 333 w 1609"/>
                  <a:gd name="T91" fmla="*/ 44 h 1706"/>
                  <a:gd name="T92" fmla="*/ 393 w 1609"/>
                  <a:gd name="T93" fmla="*/ 109 h 1706"/>
                  <a:gd name="T94" fmla="*/ 499 w 1609"/>
                  <a:gd name="T95" fmla="*/ 96 h 1706"/>
                  <a:gd name="T96" fmla="*/ 518 w 1609"/>
                  <a:gd name="T97" fmla="*/ 184 h 1706"/>
                  <a:gd name="T98" fmla="*/ 558 w 1609"/>
                  <a:gd name="T99" fmla="*/ 248 h 1706"/>
                  <a:gd name="T100" fmla="*/ 620 w 1609"/>
                  <a:gd name="T101" fmla="*/ 308 h 1706"/>
                  <a:gd name="T102" fmla="*/ 565 w 1609"/>
                  <a:gd name="T103" fmla="*/ 403 h 1706"/>
                  <a:gd name="T104" fmla="*/ 583 w 1609"/>
                  <a:gd name="T105" fmla="*/ 477 h 1706"/>
                  <a:gd name="T106" fmla="*/ 506 w 1609"/>
                  <a:gd name="T107" fmla="*/ 497 h 1706"/>
                  <a:gd name="T108" fmla="*/ 455 w 1609"/>
                  <a:gd name="T109" fmla="*/ 594 h 1706"/>
                  <a:gd name="T110" fmla="*/ 367 w 1609"/>
                  <a:gd name="T111" fmla="*/ 564 h 1706"/>
                  <a:gd name="T112" fmla="*/ 333 w 1609"/>
                  <a:gd name="T113" fmla="*/ 156 h 1706"/>
                  <a:gd name="T114" fmla="*/ 511 w 1609"/>
                  <a:gd name="T115" fmla="*/ 334 h 1706"/>
                  <a:gd name="T116" fmla="*/ 199 w 1609"/>
                  <a:gd name="T117" fmla="*/ 334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09" h="1706">
                    <a:moveTo>
                      <a:pt x="1599" y="1004"/>
                    </a:moveTo>
                    <a:cubicBezTo>
                      <a:pt x="1593" y="1021"/>
                      <a:pt x="1566" y="1072"/>
                      <a:pt x="1463" y="1072"/>
                    </a:cubicBezTo>
                    <a:cubicBezTo>
                      <a:pt x="1462" y="1072"/>
                      <a:pt x="1460" y="1072"/>
                      <a:pt x="1458" y="1072"/>
                    </a:cubicBezTo>
                    <a:cubicBezTo>
                      <a:pt x="1463" y="1117"/>
                      <a:pt x="1472" y="1211"/>
                      <a:pt x="1468" y="1269"/>
                    </a:cubicBezTo>
                    <a:cubicBezTo>
                      <a:pt x="1467" y="1280"/>
                      <a:pt x="1467" y="1280"/>
                      <a:pt x="1467" y="1280"/>
                    </a:cubicBezTo>
                    <a:cubicBezTo>
                      <a:pt x="1462" y="1361"/>
                      <a:pt x="1459" y="1405"/>
                      <a:pt x="1428" y="1421"/>
                    </a:cubicBezTo>
                    <a:cubicBezTo>
                      <a:pt x="1405" y="1434"/>
                      <a:pt x="1303" y="1453"/>
                      <a:pt x="1146" y="1435"/>
                    </a:cubicBezTo>
                    <a:cubicBezTo>
                      <a:pt x="1146" y="1684"/>
                      <a:pt x="1146" y="1684"/>
                      <a:pt x="1146" y="1684"/>
                    </a:cubicBezTo>
                    <a:cubicBezTo>
                      <a:pt x="1146" y="1696"/>
                      <a:pt x="1136" y="1706"/>
                      <a:pt x="1124" y="1706"/>
                    </a:cubicBezTo>
                    <a:cubicBezTo>
                      <a:pt x="1124" y="1706"/>
                      <a:pt x="1123" y="1706"/>
                      <a:pt x="1123" y="1706"/>
                    </a:cubicBezTo>
                    <a:cubicBezTo>
                      <a:pt x="1100" y="1706"/>
                      <a:pt x="812" y="1704"/>
                      <a:pt x="588" y="1612"/>
                    </a:cubicBezTo>
                    <a:cubicBezTo>
                      <a:pt x="580" y="1609"/>
                      <a:pt x="574" y="1601"/>
                      <a:pt x="574" y="1592"/>
                    </a:cubicBezTo>
                    <a:cubicBezTo>
                      <a:pt x="574" y="1326"/>
                      <a:pt x="574" y="1326"/>
                      <a:pt x="574" y="1326"/>
                    </a:cubicBezTo>
                    <a:cubicBezTo>
                      <a:pt x="574" y="1325"/>
                      <a:pt x="574" y="1325"/>
                      <a:pt x="574" y="1324"/>
                    </a:cubicBezTo>
                    <a:cubicBezTo>
                      <a:pt x="576" y="1326"/>
                      <a:pt x="578" y="1328"/>
                      <a:pt x="579" y="1329"/>
                    </a:cubicBezTo>
                    <a:cubicBezTo>
                      <a:pt x="585" y="1335"/>
                      <a:pt x="603" y="1349"/>
                      <a:pt x="618" y="1359"/>
                    </a:cubicBezTo>
                    <a:cubicBezTo>
                      <a:pt x="618" y="1577"/>
                      <a:pt x="618" y="1577"/>
                      <a:pt x="618" y="1577"/>
                    </a:cubicBezTo>
                    <a:cubicBezTo>
                      <a:pt x="801" y="1648"/>
                      <a:pt x="1031" y="1660"/>
                      <a:pt x="1102" y="1662"/>
                    </a:cubicBezTo>
                    <a:cubicBezTo>
                      <a:pt x="1102" y="1410"/>
                      <a:pt x="1102" y="1410"/>
                      <a:pt x="1102" y="1410"/>
                    </a:cubicBezTo>
                    <a:cubicBezTo>
                      <a:pt x="1102" y="1404"/>
                      <a:pt x="1105" y="1398"/>
                      <a:pt x="1109" y="1393"/>
                    </a:cubicBezTo>
                    <a:cubicBezTo>
                      <a:pt x="1114" y="1389"/>
                      <a:pt x="1120" y="1387"/>
                      <a:pt x="1127" y="1388"/>
                    </a:cubicBezTo>
                    <a:cubicBezTo>
                      <a:pt x="1290" y="1410"/>
                      <a:pt x="1393" y="1390"/>
                      <a:pt x="1408" y="1382"/>
                    </a:cubicBezTo>
                    <a:cubicBezTo>
                      <a:pt x="1417" y="1376"/>
                      <a:pt x="1420" y="1323"/>
                      <a:pt x="1423" y="1277"/>
                    </a:cubicBezTo>
                    <a:cubicBezTo>
                      <a:pt x="1424" y="1267"/>
                      <a:pt x="1424" y="1267"/>
                      <a:pt x="1424" y="1267"/>
                    </a:cubicBezTo>
                    <a:cubicBezTo>
                      <a:pt x="1429" y="1192"/>
                      <a:pt x="1412" y="1053"/>
                      <a:pt x="1412" y="1052"/>
                    </a:cubicBezTo>
                    <a:cubicBezTo>
                      <a:pt x="1411" y="1045"/>
                      <a:pt x="1413" y="1038"/>
                      <a:pt x="1418" y="1034"/>
                    </a:cubicBezTo>
                    <a:cubicBezTo>
                      <a:pt x="1423" y="1029"/>
                      <a:pt x="1429" y="1026"/>
                      <a:pt x="1436" y="1027"/>
                    </a:cubicBezTo>
                    <a:cubicBezTo>
                      <a:pt x="1512" y="1034"/>
                      <a:pt x="1548" y="1012"/>
                      <a:pt x="1557" y="991"/>
                    </a:cubicBezTo>
                    <a:cubicBezTo>
                      <a:pt x="1555" y="977"/>
                      <a:pt x="1521" y="941"/>
                      <a:pt x="1505" y="923"/>
                    </a:cubicBezTo>
                    <a:cubicBezTo>
                      <a:pt x="1501" y="919"/>
                      <a:pt x="1496" y="914"/>
                      <a:pt x="1492" y="910"/>
                    </a:cubicBezTo>
                    <a:cubicBezTo>
                      <a:pt x="1463" y="878"/>
                      <a:pt x="1439" y="820"/>
                      <a:pt x="1424" y="777"/>
                    </a:cubicBezTo>
                    <a:cubicBezTo>
                      <a:pt x="1418" y="760"/>
                      <a:pt x="1416" y="737"/>
                      <a:pt x="1414" y="709"/>
                    </a:cubicBezTo>
                    <a:cubicBezTo>
                      <a:pt x="1412" y="682"/>
                      <a:pt x="1409" y="652"/>
                      <a:pt x="1402" y="630"/>
                    </a:cubicBezTo>
                    <a:cubicBezTo>
                      <a:pt x="1389" y="591"/>
                      <a:pt x="1386" y="527"/>
                      <a:pt x="1386" y="502"/>
                    </a:cubicBezTo>
                    <a:cubicBezTo>
                      <a:pt x="1404" y="501"/>
                      <a:pt x="1418" y="500"/>
                      <a:pt x="1430" y="499"/>
                    </a:cubicBezTo>
                    <a:cubicBezTo>
                      <a:pt x="1430" y="520"/>
                      <a:pt x="1432" y="582"/>
                      <a:pt x="1444" y="616"/>
                    </a:cubicBezTo>
                    <a:cubicBezTo>
                      <a:pt x="1453" y="643"/>
                      <a:pt x="1455" y="676"/>
                      <a:pt x="1458" y="706"/>
                    </a:cubicBezTo>
                    <a:cubicBezTo>
                      <a:pt x="1460" y="728"/>
                      <a:pt x="1461" y="751"/>
                      <a:pt x="1466" y="763"/>
                    </a:cubicBezTo>
                    <a:cubicBezTo>
                      <a:pt x="1485" y="818"/>
                      <a:pt x="1506" y="859"/>
                      <a:pt x="1525" y="880"/>
                    </a:cubicBezTo>
                    <a:cubicBezTo>
                      <a:pt x="1529" y="884"/>
                      <a:pt x="1533" y="889"/>
                      <a:pt x="1537" y="893"/>
                    </a:cubicBezTo>
                    <a:cubicBezTo>
                      <a:pt x="1581" y="941"/>
                      <a:pt x="1609" y="974"/>
                      <a:pt x="1599" y="1004"/>
                    </a:cubicBezTo>
                    <a:close/>
                    <a:moveTo>
                      <a:pt x="405" y="658"/>
                    </a:moveTo>
                    <a:cubicBezTo>
                      <a:pt x="424" y="653"/>
                      <a:pt x="446" y="646"/>
                      <a:pt x="446" y="645"/>
                    </a:cubicBezTo>
                    <a:cubicBezTo>
                      <a:pt x="447" y="645"/>
                      <a:pt x="469" y="637"/>
                      <a:pt x="487" y="628"/>
                    </a:cubicBezTo>
                    <a:cubicBezTo>
                      <a:pt x="498" y="622"/>
                      <a:pt x="498" y="622"/>
                      <a:pt x="498" y="622"/>
                    </a:cubicBezTo>
                    <a:cubicBezTo>
                      <a:pt x="499" y="559"/>
                      <a:pt x="499" y="559"/>
                      <a:pt x="499" y="559"/>
                    </a:cubicBezTo>
                    <a:cubicBezTo>
                      <a:pt x="509" y="552"/>
                      <a:pt x="519" y="545"/>
                      <a:pt x="528" y="536"/>
                    </a:cubicBezTo>
                    <a:cubicBezTo>
                      <a:pt x="589" y="546"/>
                      <a:pt x="589" y="546"/>
                      <a:pt x="589" y="546"/>
                    </a:cubicBezTo>
                    <a:cubicBezTo>
                      <a:pt x="597" y="536"/>
                      <a:pt x="597" y="536"/>
                      <a:pt x="597" y="536"/>
                    </a:cubicBezTo>
                    <a:cubicBezTo>
                      <a:pt x="609" y="520"/>
                      <a:pt x="620" y="500"/>
                      <a:pt x="621" y="499"/>
                    </a:cubicBezTo>
                    <a:cubicBezTo>
                      <a:pt x="621" y="498"/>
                      <a:pt x="633" y="478"/>
                      <a:pt x="640" y="460"/>
                    </a:cubicBezTo>
                    <a:cubicBezTo>
                      <a:pt x="646" y="448"/>
                      <a:pt x="646" y="448"/>
                      <a:pt x="646" y="448"/>
                    </a:cubicBezTo>
                    <a:cubicBezTo>
                      <a:pt x="610" y="404"/>
                      <a:pt x="610" y="404"/>
                      <a:pt x="610" y="404"/>
                    </a:cubicBezTo>
                    <a:cubicBezTo>
                      <a:pt x="614" y="390"/>
                      <a:pt x="617" y="375"/>
                      <a:pt x="618" y="360"/>
                    </a:cubicBezTo>
                    <a:cubicBezTo>
                      <a:pt x="666" y="332"/>
                      <a:pt x="666" y="332"/>
                      <a:pt x="666" y="332"/>
                    </a:cubicBezTo>
                    <a:cubicBezTo>
                      <a:pt x="666" y="319"/>
                      <a:pt x="666" y="319"/>
                      <a:pt x="666" y="319"/>
                    </a:cubicBezTo>
                    <a:cubicBezTo>
                      <a:pt x="664" y="299"/>
                      <a:pt x="660" y="276"/>
                      <a:pt x="660" y="275"/>
                    </a:cubicBezTo>
                    <a:cubicBezTo>
                      <a:pt x="660" y="274"/>
                      <a:pt x="656" y="252"/>
                      <a:pt x="650" y="233"/>
                    </a:cubicBezTo>
                    <a:cubicBezTo>
                      <a:pt x="647" y="220"/>
                      <a:pt x="647" y="220"/>
                      <a:pt x="647" y="220"/>
                    </a:cubicBezTo>
                    <a:cubicBezTo>
                      <a:pt x="588" y="209"/>
                      <a:pt x="588" y="209"/>
                      <a:pt x="588" y="209"/>
                    </a:cubicBezTo>
                    <a:cubicBezTo>
                      <a:pt x="582" y="197"/>
                      <a:pt x="575" y="186"/>
                      <a:pt x="567" y="176"/>
                    </a:cubicBezTo>
                    <a:cubicBezTo>
                      <a:pt x="588" y="118"/>
                      <a:pt x="588" y="118"/>
                      <a:pt x="588" y="118"/>
                    </a:cubicBezTo>
                    <a:cubicBezTo>
                      <a:pt x="579" y="108"/>
                      <a:pt x="579" y="108"/>
                      <a:pt x="579" y="108"/>
                    </a:cubicBezTo>
                    <a:cubicBezTo>
                      <a:pt x="565" y="94"/>
                      <a:pt x="547" y="79"/>
                      <a:pt x="547" y="78"/>
                    </a:cubicBezTo>
                    <a:cubicBezTo>
                      <a:pt x="546" y="78"/>
                      <a:pt x="528" y="63"/>
                      <a:pt x="512" y="52"/>
                    </a:cubicBezTo>
                    <a:cubicBezTo>
                      <a:pt x="501" y="45"/>
                      <a:pt x="501" y="45"/>
                      <a:pt x="501" y="45"/>
                    </a:cubicBezTo>
                    <a:cubicBezTo>
                      <a:pt x="441" y="78"/>
                      <a:pt x="441" y="78"/>
                      <a:pt x="441" y="78"/>
                    </a:cubicBezTo>
                    <a:cubicBezTo>
                      <a:pt x="432" y="75"/>
                      <a:pt x="423" y="72"/>
                      <a:pt x="414" y="69"/>
                    </a:cubicBezTo>
                    <a:cubicBezTo>
                      <a:pt x="390" y="4"/>
                      <a:pt x="390" y="4"/>
                      <a:pt x="390" y="4"/>
                    </a:cubicBezTo>
                    <a:cubicBezTo>
                      <a:pt x="377" y="3"/>
                      <a:pt x="377" y="3"/>
                      <a:pt x="377" y="3"/>
                    </a:cubicBezTo>
                    <a:cubicBezTo>
                      <a:pt x="357" y="0"/>
                      <a:pt x="334" y="0"/>
                      <a:pt x="333" y="0"/>
                    </a:cubicBezTo>
                    <a:cubicBezTo>
                      <a:pt x="332" y="0"/>
                      <a:pt x="309" y="0"/>
                      <a:pt x="290" y="3"/>
                    </a:cubicBezTo>
                    <a:cubicBezTo>
                      <a:pt x="276" y="4"/>
                      <a:pt x="276" y="4"/>
                      <a:pt x="276" y="4"/>
                    </a:cubicBezTo>
                    <a:cubicBezTo>
                      <a:pt x="252" y="69"/>
                      <a:pt x="252" y="69"/>
                      <a:pt x="252" y="69"/>
                    </a:cubicBezTo>
                    <a:cubicBezTo>
                      <a:pt x="243" y="72"/>
                      <a:pt x="234" y="75"/>
                      <a:pt x="225" y="78"/>
                    </a:cubicBezTo>
                    <a:cubicBezTo>
                      <a:pt x="165" y="45"/>
                      <a:pt x="165" y="45"/>
                      <a:pt x="165" y="45"/>
                    </a:cubicBezTo>
                    <a:cubicBezTo>
                      <a:pt x="154" y="52"/>
                      <a:pt x="154" y="52"/>
                      <a:pt x="154" y="52"/>
                    </a:cubicBezTo>
                    <a:cubicBezTo>
                      <a:pt x="138" y="63"/>
                      <a:pt x="120" y="77"/>
                      <a:pt x="119" y="78"/>
                    </a:cubicBezTo>
                    <a:cubicBezTo>
                      <a:pt x="119" y="79"/>
                      <a:pt x="101" y="93"/>
                      <a:pt x="88" y="108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91" y="186"/>
                      <a:pt x="84" y="197"/>
                      <a:pt x="78" y="209"/>
                    </a:cubicBezTo>
                    <a:cubicBezTo>
                      <a:pt x="19" y="220"/>
                      <a:pt x="19" y="220"/>
                      <a:pt x="19" y="220"/>
                    </a:cubicBezTo>
                    <a:cubicBezTo>
                      <a:pt x="16" y="232"/>
                      <a:pt x="16" y="232"/>
                      <a:pt x="16" y="232"/>
                    </a:cubicBezTo>
                    <a:cubicBezTo>
                      <a:pt x="10" y="251"/>
                      <a:pt x="6" y="274"/>
                      <a:pt x="6" y="275"/>
                    </a:cubicBezTo>
                    <a:cubicBezTo>
                      <a:pt x="5" y="276"/>
                      <a:pt x="1" y="298"/>
                      <a:pt x="0" y="318"/>
                    </a:cubicBezTo>
                    <a:cubicBezTo>
                      <a:pt x="0" y="332"/>
                      <a:pt x="0" y="332"/>
                      <a:pt x="0" y="332"/>
                    </a:cubicBezTo>
                    <a:cubicBezTo>
                      <a:pt x="48" y="360"/>
                      <a:pt x="48" y="360"/>
                      <a:pt x="48" y="360"/>
                    </a:cubicBezTo>
                    <a:cubicBezTo>
                      <a:pt x="50" y="375"/>
                      <a:pt x="52" y="390"/>
                      <a:pt x="56" y="404"/>
                    </a:cubicBezTo>
                    <a:cubicBezTo>
                      <a:pt x="20" y="448"/>
                      <a:pt x="20" y="448"/>
                      <a:pt x="20" y="448"/>
                    </a:cubicBezTo>
                    <a:cubicBezTo>
                      <a:pt x="25" y="460"/>
                      <a:pt x="25" y="460"/>
                      <a:pt x="25" y="460"/>
                    </a:cubicBezTo>
                    <a:cubicBezTo>
                      <a:pt x="33" y="478"/>
                      <a:pt x="44" y="498"/>
                      <a:pt x="45" y="499"/>
                    </a:cubicBezTo>
                    <a:cubicBezTo>
                      <a:pt x="45" y="500"/>
                      <a:pt x="57" y="520"/>
                      <a:pt x="69" y="535"/>
                    </a:cubicBezTo>
                    <a:cubicBezTo>
                      <a:pt x="77" y="546"/>
                      <a:pt x="77" y="546"/>
                      <a:pt x="77" y="546"/>
                    </a:cubicBezTo>
                    <a:cubicBezTo>
                      <a:pt x="138" y="536"/>
                      <a:pt x="138" y="536"/>
                      <a:pt x="138" y="536"/>
                    </a:cubicBezTo>
                    <a:cubicBezTo>
                      <a:pt x="147" y="544"/>
                      <a:pt x="156" y="552"/>
                      <a:pt x="166" y="559"/>
                    </a:cubicBezTo>
                    <a:cubicBezTo>
                      <a:pt x="167" y="622"/>
                      <a:pt x="167" y="622"/>
                      <a:pt x="167" y="622"/>
                    </a:cubicBezTo>
                    <a:cubicBezTo>
                      <a:pt x="179" y="628"/>
                      <a:pt x="179" y="628"/>
                      <a:pt x="179" y="628"/>
                    </a:cubicBezTo>
                    <a:cubicBezTo>
                      <a:pt x="197" y="637"/>
                      <a:pt x="218" y="645"/>
                      <a:pt x="219" y="645"/>
                    </a:cubicBezTo>
                    <a:cubicBezTo>
                      <a:pt x="220" y="645"/>
                      <a:pt x="242" y="653"/>
                      <a:pt x="261" y="658"/>
                    </a:cubicBezTo>
                    <a:cubicBezTo>
                      <a:pt x="274" y="661"/>
                      <a:pt x="274" y="661"/>
                      <a:pt x="274" y="661"/>
                    </a:cubicBezTo>
                    <a:cubicBezTo>
                      <a:pt x="317" y="610"/>
                      <a:pt x="317" y="610"/>
                      <a:pt x="317" y="610"/>
                    </a:cubicBezTo>
                    <a:cubicBezTo>
                      <a:pt x="328" y="611"/>
                      <a:pt x="338" y="611"/>
                      <a:pt x="348" y="610"/>
                    </a:cubicBezTo>
                    <a:cubicBezTo>
                      <a:pt x="392" y="661"/>
                      <a:pt x="392" y="661"/>
                      <a:pt x="392" y="661"/>
                    </a:cubicBezTo>
                    <a:lnTo>
                      <a:pt x="405" y="658"/>
                    </a:lnTo>
                    <a:close/>
                    <a:moveTo>
                      <a:pt x="356" y="565"/>
                    </a:moveTo>
                    <a:cubicBezTo>
                      <a:pt x="340" y="567"/>
                      <a:pt x="325" y="567"/>
                      <a:pt x="310" y="565"/>
                    </a:cubicBezTo>
                    <a:cubicBezTo>
                      <a:pt x="299" y="564"/>
                      <a:pt x="299" y="564"/>
                      <a:pt x="299" y="564"/>
                    </a:cubicBezTo>
                    <a:cubicBezTo>
                      <a:pt x="258" y="612"/>
                      <a:pt x="258" y="612"/>
                      <a:pt x="258" y="612"/>
                    </a:cubicBezTo>
                    <a:cubicBezTo>
                      <a:pt x="245" y="608"/>
                      <a:pt x="234" y="604"/>
                      <a:pt x="234" y="604"/>
                    </a:cubicBezTo>
                    <a:cubicBezTo>
                      <a:pt x="234" y="604"/>
                      <a:pt x="223" y="600"/>
                      <a:pt x="211" y="594"/>
                    </a:cubicBezTo>
                    <a:cubicBezTo>
                      <a:pt x="210" y="535"/>
                      <a:pt x="210" y="535"/>
                      <a:pt x="210" y="535"/>
                    </a:cubicBezTo>
                    <a:cubicBezTo>
                      <a:pt x="200" y="528"/>
                      <a:pt x="200" y="528"/>
                      <a:pt x="200" y="528"/>
                    </a:cubicBezTo>
                    <a:cubicBezTo>
                      <a:pt x="186" y="519"/>
                      <a:pt x="172" y="509"/>
                      <a:pt x="160" y="497"/>
                    </a:cubicBezTo>
                    <a:cubicBezTo>
                      <a:pt x="152" y="489"/>
                      <a:pt x="152" y="489"/>
                      <a:pt x="152" y="489"/>
                    </a:cubicBezTo>
                    <a:cubicBezTo>
                      <a:pt x="96" y="498"/>
                      <a:pt x="96" y="498"/>
                      <a:pt x="96" y="498"/>
                    </a:cubicBezTo>
                    <a:cubicBezTo>
                      <a:pt x="89" y="487"/>
                      <a:pt x="83" y="477"/>
                      <a:pt x="83" y="477"/>
                    </a:cubicBezTo>
                    <a:cubicBezTo>
                      <a:pt x="83" y="477"/>
                      <a:pt x="77" y="466"/>
                      <a:pt x="71" y="455"/>
                    </a:cubicBezTo>
                    <a:cubicBezTo>
                      <a:pt x="105" y="413"/>
                      <a:pt x="105" y="413"/>
                      <a:pt x="105" y="413"/>
                    </a:cubicBezTo>
                    <a:cubicBezTo>
                      <a:pt x="101" y="402"/>
                      <a:pt x="101" y="402"/>
                      <a:pt x="101" y="402"/>
                    </a:cubicBezTo>
                    <a:cubicBezTo>
                      <a:pt x="96" y="384"/>
                      <a:pt x="92" y="365"/>
                      <a:pt x="91" y="346"/>
                    </a:cubicBezTo>
                    <a:cubicBezTo>
                      <a:pt x="91" y="334"/>
                      <a:pt x="91" y="334"/>
                      <a:pt x="91" y="334"/>
                    </a:cubicBezTo>
                    <a:cubicBezTo>
                      <a:pt x="45" y="308"/>
                      <a:pt x="45" y="308"/>
                      <a:pt x="45" y="308"/>
                    </a:cubicBezTo>
                    <a:cubicBezTo>
                      <a:pt x="47" y="294"/>
                      <a:pt x="49" y="283"/>
                      <a:pt x="49" y="283"/>
                    </a:cubicBezTo>
                    <a:cubicBezTo>
                      <a:pt x="49" y="282"/>
                      <a:pt x="51" y="271"/>
                      <a:pt x="54" y="258"/>
                    </a:cubicBezTo>
                    <a:cubicBezTo>
                      <a:pt x="108" y="248"/>
                      <a:pt x="108" y="248"/>
                      <a:pt x="108" y="248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20" y="222"/>
                      <a:pt x="130" y="207"/>
                      <a:pt x="141" y="193"/>
                    </a:cubicBezTo>
                    <a:cubicBezTo>
                      <a:pt x="148" y="184"/>
                      <a:pt x="148" y="184"/>
                      <a:pt x="148" y="184"/>
                    </a:cubicBezTo>
                    <a:cubicBezTo>
                      <a:pt x="129" y="129"/>
                      <a:pt x="129" y="129"/>
                      <a:pt x="129" y="129"/>
                    </a:cubicBezTo>
                    <a:cubicBezTo>
                      <a:pt x="138" y="120"/>
                      <a:pt x="148" y="112"/>
                      <a:pt x="148" y="112"/>
                    </a:cubicBezTo>
                    <a:cubicBezTo>
                      <a:pt x="148" y="112"/>
                      <a:pt x="157" y="104"/>
                      <a:pt x="168" y="96"/>
                    </a:cubicBezTo>
                    <a:cubicBezTo>
                      <a:pt x="223" y="127"/>
                      <a:pt x="223" y="127"/>
                      <a:pt x="223" y="127"/>
                    </a:cubicBezTo>
                    <a:cubicBezTo>
                      <a:pt x="233" y="123"/>
                      <a:pt x="233" y="123"/>
                      <a:pt x="233" y="123"/>
                    </a:cubicBezTo>
                    <a:cubicBezTo>
                      <a:pt x="246" y="117"/>
                      <a:pt x="260" y="112"/>
                      <a:pt x="274" y="109"/>
                    </a:cubicBezTo>
                    <a:cubicBezTo>
                      <a:pt x="285" y="106"/>
                      <a:pt x="285" y="106"/>
                      <a:pt x="285" y="106"/>
                    </a:cubicBezTo>
                    <a:cubicBezTo>
                      <a:pt x="308" y="45"/>
                      <a:pt x="308" y="45"/>
                      <a:pt x="308" y="45"/>
                    </a:cubicBezTo>
                    <a:cubicBezTo>
                      <a:pt x="321" y="44"/>
                      <a:pt x="333" y="44"/>
                      <a:pt x="333" y="44"/>
                    </a:cubicBezTo>
                    <a:cubicBezTo>
                      <a:pt x="333" y="44"/>
                      <a:pt x="345" y="44"/>
                      <a:pt x="358" y="45"/>
                    </a:cubicBezTo>
                    <a:cubicBezTo>
                      <a:pt x="381" y="106"/>
                      <a:pt x="381" y="106"/>
                      <a:pt x="381" y="106"/>
                    </a:cubicBezTo>
                    <a:cubicBezTo>
                      <a:pt x="393" y="109"/>
                      <a:pt x="393" y="109"/>
                      <a:pt x="393" y="109"/>
                    </a:cubicBezTo>
                    <a:cubicBezTo>
                      <a:pt x="407" y="112"/>
                      <a:pt x="420" y="117"/>
                      <a:pt x="434" y="123"/>
                    </a:cubicBezTo>
                    <a:cubicBezTo>
                      <a:pt x="444" y="127"/>
                      <a:pt x="444" y="127"/>
                      <a:pt x="444" y="127"/>
                    </a:cubicBezTo>
                    <a:cubicBezTo>
                      <a:pt x="499" y="96"/>
                      <a:pt x="499" y="96"/>
                      <a:pt x="499" y="96"/>
                    </a:cubicBezTo>
                    <a:cubicBezTo>
                      <a:pt x="509" y="104"/>
                      <a:pt x="518" y="112"/>
                      <a:pt x="518" y="112"/>
                    </a:cubicBezTo>
                    <a:cubicBezTo>
                      <a:pt x="519" y="112"/>
                      <a:pt x="528" y="120"/>
                      <a:pt x="537" y="129"/>
                    </a:cubicBezTo>
                    <a:cubicBezTo>
                      <a:pt x="518" y="184"/>
                      <a:pt x="518" y="184"/>
                      <a:pt x="518" y="184"/>
                    </a:cubicBezTo>
                    <a:cubicBezTo>
                      <a:pt x="526" y="193"/>
                      <a:pt x="526" y="193"/>
                      <a:pt x="526" y="193"/>
                    </a:cubicBezTo>
                    <a:cubicBezTo>
                      <a:pt x="537" y="207"/>
                      <a:pt x="546" y="222"/>
                      <a:pt x="554" y="238"/>
                    </a:cubicBezTo>
                    <a:cubicBezTo>
                      <a:pt x="558" y="248"/>
                      <a:pt x="558" y="248"/>
                      <a:pt x="558" y="248"/>
                    </a:cubicBezTo>
                    <a:cubicBezTo>
                      <a:pt x="612" y="258"/>
                      <a:pt x="612" y="258"/>
                      <a:pt x="612" y="258"/>
                    </a:cubicBezTo>
                    <a:cubicBezTo>
                      <a:pt x="615" y="271"/>
                      <a:pt x="617" y="283"/>
                      <a:pt x="617" y="283"/>
                    </a:cubicBezTo>
                    <a:cubicBezTo>
                      <a:pt x="617" y="283"/>
                      <a:pt x="619" y="295"/>
                      <a:pt x="620" y="308"/>
                    </a:cubicBezTo>
                    <a:cubicBezTo>
                      <a:pt x="576" y="334"/>
                      <a:pt x="576" y="334"/>
                      <a:pt x="576" y="334"/>
                    </a:cubicBezTo>
                    <a:cubicBezTo>
                      <a:pt x="575" y="346"/>
                      <a:pt x="575" y="346"/>
                      <a:pt x="575" y="346"/>
                    </a:cubicBezTo>
                    <a:cubicBezTo>
                      <a:pt x="574" y="365"/>
                      <a:pt x="570" y="384"/>
                      <a:pt x="565" y="403"/>
                    </a:cubicBezTo>
                    <a:cubicBezTo>
                      <a:pt x="561" y="414"/>
                      <a:pt x="561" y="414"/>
                      <a:pt x="561" y="414"/>
                    </a:cubicBezTo>
                    <a:cubicBezTo>
                      <a:pt x="594" y="455"/>
                      <a:pt x="594" y="455"/>
                      <a:pt x="594" y="455"/>
                    </a:cubicBezTo>
                    <a:cubicBezTo>
                      <a:pt x="589" y="467"/>
                      <a:pt x="583" y="477"/>
                      <a:pt x="583" y="477"/>
                    </a:cubicBezTo>
                    <a:cubicBezTo>
                      <a:pt x="583" y="477"/>
                      <a:pt x="577" y="488"/>
                      <a:pt x="569" y="499"/>
                    </a:cubicBezTo>
                    <a:cubicBezTo>
                      <a:pt x="514" y="489"/>
                      <a:pt x="514" y="489"/>
                      <a:pt x="514" y="489"/>
                    </a:cubicBezTo>
                    <a:cubicBezTo>
                      <a:pt x="506" y="497"/>
                      <a:pt x="506" y="497"/>
                      <a:pt x="506" y="497"/>
                    </a:cubicBezTo>
                    <a:cubicBezTo>
                      <a:pt x="494" y="509"/>
                      <a:pt x="480" y="519"/>
                      <a:pt x="466" y="529"/>
                    </a:cubicBezTo>
                    <a:cubicBezTo>
                      <a:pt x="455" y="535"/>
                      <a:pt x="455" y="535"/>
                      <a:pt x="455" y="535"/>
                    </a:cubicBezTo>
                    <a:cubicBezTo>
                      <a:pt x="455" y="594"/>
                      <a:pt x="455" y="594"/>
                      <a:pt x="455" y="594"/>
                    </a:cubicBezTo>
                    <a:cubicBezTo>
                      <a:pt x="443" y="600"/>
                      <a:pt x="432" y="604"/>
                      <a:pt x="431" y="604"/>
                    </a:cubicBezTo>
                    <a:cubicBezTo>
                      <a:pt x="431" y="604"/>
                      <a:pt x="420" y="608"/>
                      <a:pt x="407" y="612"/>
                    </a:cubicBezTo>
                    <a:cubicBezTo>
                      <a:pt x="367" y="564"/>
                      <a:pt x="367" y="564"/>
                      <a:pt x="367" y="564"/>
                    </a:cubicBezTo>
                    <a:lnTo>
                      <a:pt x="356" y="565"/>
                    </a:lnTo>
                    <a:close/>
                    <a:moveTo>
                      <a:pt x="511" y="334"/>
                    </a:moveTo>
                    <a:cubicBezTo>
                      <a:pt x="511" y="236"/>
                      <a:pt x="431" y="156"/>
                      <a:pt x="333" y="156"/>
                    </a:cubicBezTo>
                    <a:cubicBezTo>
                      <a:pt x="235" y="156"/>
                      <a:pt x="155" y="236"/>
                      <a:pt x="155" y="334"/>
                    </a:cubicBezTo>
                    <a:cubicBezTo>
                      <a:pt x="155" y="432"/>
                      <a:pt x="235" y="512"/>
                      <a:pt x="333" y="512"/>
                    </a:cubicBezTo>
                    <a:cubicBezTo>
                      <a:pt x="431" y="512"/>
                      <a:pt x="511" y="432"/>
                      <a:pt x="511" y="334"/>
                    </a:cubicBezTo>
                    <a:close/>
                    <a:moveTo>
                      <a:pt x="467" y="334"/>
                    </a:moveTo>
                    <a:cubicBezTo>
                      <a:pt x="467" y="408"/>
                      <a:pt x="407" y="468"/>
                      <a:pt x="333" y="468"/>
                    </a:cubicBezTo>
                    <a:cubicBezTo>
                      <a:pt x="259" y="468"/>
                      <a:pt x="199" y="408"/>
                      <a:pt x="199" y="334"/>
                    </a:cubicBezTo>
                    <a:cubicBezTo>
                      <a:pt x="199" y="260"/>
                      <a:pt x="259" y="200"/>
                      <a:pt x="333" y="200"/>
                    </a:cubicBezTo>
                    <a:cubicBezTo>
                      <a:pt x="407" y="200"/>
                      <a:pt x="467" y="260"/>
                      <a:pt x="467" y="334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58" name="Group 57"/>
          <p:cNvGrpSpPr>
            <a:grpSpLocks noChangeAspect="1"/>
          </p:cNvGrpSpPr>
          <p:nvPr/>
        </p:nvGrpSpPr>
        <p:grpSpPr>
          <a:xfrm>
            <a:off x="5209913" y="1973600"/>
            <a:ext cx="686946" cy="686946"/>
            <a:chOff x="5273675" y="2570163"/>
            <a:chExt cx="1646238" cy="1646237"/>
          </a:xfrm>
        </p:grpSpPr>
        <p:sp>
          <p:nvSpPr>
            <p:cNvPr id="59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5540376" y="2842160"/>
              <a:ext cx="1111397" cy="1099602"/>
              <a:chOff x="5540376" y="2842160"/>
              <a:chExt cx="1111397" cy="1099602"/>
            </a:xfrm>
          </p:grpSpPr>
          <p:sp>
            <p:nvSpPr>
              <p:cNvPr id="61" name="Freeform 60"/>
              <p:cNvSpPr>
                <a:spLocks/>
              </p:cNvSpPr>
              <p:nvPr/>
            </p:nvSpPr>
            <p:spPr bwMode="auto">
              <a:xfrm>
                <a:off x="5967413" y="3044825"/>
                <a:ext cx="530225" cy="557212"/>
              </a:xfrm>
              <a:custGeom>
                <a:avLst/>
                <a:gdLst>
                  <a:gd name="T0" fmla="*/ 741 w 744"/>
                  <a:gd name="T1" fmla="*/ 524 h 781"/>
                  <a:gd name="T2" fmla="*/ 741 w 744"/>
                  <a:gd name="T3" fmla="*/ 519 h 781"/>
                  <a:gd name="T4" fmla="*/ 654 w 744"/>
                  <a:gd name="T5" fmla="*/ 286 h 781"/>
                  <a:gd name="T6" fmla="*/ 605 w 744"/>
                  <a:gd name="T7" fmla="*/ 216 h 781"/>
                  <a:gd name="T8" fmla="*/ 456 w 744"/>
                  <a:gd name="T9" fmla="*/ 56 h 781"/>
                  <a:gd name="T10" fmla="*/ 435 w 744"/>
                  <a:gd name="T11" fmla="*/ 30 h 781"/>
                  <a:gd name="T12" fmla="*/ 422 w 744"/>
                  <a:gd name="T13" fmla="*/ 10 h 781"/>
                  <a:gd name="T14" fmla="*/ 421 w 744"/>
                  <a:gd name="T15" fmla="*/ 8 h 781"/>
                  <a:gd name="T16" fmla="*/ 403 w 744"/>
                  <a:gd name="T17" fmla="*/ 0 h 781"/>
                  <a:gd name="T18" fmla="*/ 333 w 744"/>
                  <a:gd name="T19" fmla="*/ 0 h 781"/>
                  <a:gd name="T20" fmla="*/ 316 w 744"/>
                  <a:gd name="T21" fmla="*/ 8 h 781"/>
                  <a:gd name="T22" fmla="*/ 314 w 744"/>
                  <a:gd name="T23" fmla="*/ 11 h 781"/>
                  <a:gd name="T24" fmla="*/ 303 w 744"/>
                  <a:gd name="T25" fmla="*/ 30 h 781"/>
                  <a:gd name="T26" fmla="*/ 284 w 744"/>
                  <a:gd name="T27" fmla="*/ 56 h 781"/>
                  <a:gd name="T28" fmla="*/ 135 w 744"/>
                  <a:gd name="T29" fmla="*/ 216 h 781"/>
                  <a:gd name="T30" fmla="*/ 86 w 744"/>
                  <a:gd name="T31" fmla="*/ 286 h 781"/>
                  <a:gd name="T32" fmla="*/ 0 w 744"/>
                  <a:gd name="T33" fmla="*/ 496 h 781"/>
                  <a:gd name="T34" fmla="*/ 9 w 744"/>
                  <a:gd name="T35" fmla="*/ 497 h 781"/>
                  <a:gd name="T36" fmla="*/ 400 w 744"/>
                  <a:gd name="T37" fmla="*/ 517 h 781"/>
                  <a:gd name="T38" fmla="*/ 528 w 744"/>
                  <a:gd name="T39" fmla="*/ 651 h 781"/>
                  <a:gd name="T40" fmla="*/ 527 w 744"/>
                  <a:gd name="T41" fmla="*/ 669 h 781"/>
                  <a:gd name="T42" fmla="*/ 430 w 744"/>
                  <a:gd name="T43" fmla="*/ 781 h 781"/>
                  <a:gd name="T44" fmla="*/ 500 w 744"/>
                  <a:gd name="T45" fmla="*/ 769 h 781"/>
                  <a:gd name="T46" fmla="*/ 509 w 744"/>
                  <a:gd name="T47" fmla="*/ 767 h 781"/>
                  <a:gd name="T48" fmla="*/ 686 w 744"/>
                  <a:gd name="T49" fmla="*/ 656 h 781"/>
                  <a:gd name="T50" fmla="*/ 731 w 744"/>
                  <a:gd name="T51" fmla="*/ 606 h 781"/>
                  <a:gd name="T52" fmla="*/ 741 w 744"/>
                  <a:gd name="T53" fmla="*/ 524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44" h="781">
                    <a:moveTo>
                      <a:pt x="741" y="524"/>
                    </a:moveTo>
                    <a:cubicBezTo>
                      <a:pt x="741" y="519"/>
                      <a:pt x="741" y="519"/>
                      <a:pt x="741" y="519"/>
                    </a:cubicBezTo>
                    <a:cubicBezTo>
                      <a:pt x="741" y="453"/>
                      <a:pt x="711" y="373"/>
                      <a:pt x="654" y="286"/>
                    </a:cubicBezTo>
                    <a:cubicBezTo>
                      <a:pt x="640" y="263"/>
                      <a:pt x="624" y="240"/>
                      <a:pt x="605" y="216"/>
                    </a:cubicBezTo>
                    <a:cubicBezTo>
                      <a:pt x="542" y="134"/>
                      <a:pt x="475" y="71"/>
                      <a:pt x="456" y="56"/>
                    </a:cubicBezTo>
                    <a:cubicBezTo>
                      <a:pt x="450" y="51"/>
                      <a:pt x="442" y="41"/>
                      <a:pt x="435" y="30"/>
                    </a:cubicBezTo>
                    <a:cubicBezTo>
                      <a:pt x="430" y="23"/>
                      <a:pt x="426" y="16"/>
                      <a:pt x="422" y="10"/>
                    </a:cubicBezTo>
                    <a:cubicBezTo>
                      <a:pt x="422" y="10"/>
                      <a:pt x="422" y="9"/>
                      <a:pt x="421" y="8"/>
                    </a:cubicBezTo>
                    <a:cubicBezTo>
                      <a:pt x="417" y="3"/>
                      <a:pt x="410" y="0"/>
                      <a:pt x="403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27" y="0"/>
                      <a:pt x="320" y="3"/>
                      <a:pt x="316" y="8"/>
                    </a:cubicBezTo>
                    <a:cubicBezTo>
                      <a:pt x="315" y="9"/>
                      <a:pt x="315" y="10"/>
                      <a:pt x="314" y="11"/>
                    </a:cubicBezTo>
                    <a:cubicBezTo>
                      <a:pt x="311" y="17"/>
                      <a:pt x="307" y="24"/>
                      <a:pt x="303" y="30"/>
                    </a:cubicBezTo>
                    <a:cubicBezTo>
                      <a:pt x="297" y="41"/>
                      <a:pt x="290" y="51"/>
                      <a:pt x="284" y="56"/>
                    </a:cubicBezTo>
                    <a:cubicBezTo>
                      <a:pt x="265" y="71"/>
                      <a:pt x="198" y="134"/>
                      <a:pt x="135" y="216"/>
                    </a:cubicBezTo>
                    <a:cubicBezTo>
                      <a:pt x="116" y="240"/>
                      <a:pt x="100" y="263"/>
                      <a:pt x="86" y="286"/>
                    </a:cubicBezTo>
                    <a:cubicBezTo>
                      <a:pt x="35" y="364"/>
                      <a:pt x="6" y="435"/>
                      <a:pt x="0" y="496"/>
                    </a:cubicBezTo>
                    <a:cubicBezTo>
                      <a:pt x="9" y="497"/>
                      <a:pt x="9" y="497"/>
                      <a:pt x="9" y="497"/>
                    </a:cubicBezTo>
                    <a:cubicBezTo>
                      <a:pt x="400" y="517"/>
                      <a:pt x="400" y="517"/>
                      <a:pt x="400" y="517"/>
                    </a:cubicBezTo>
                    <a:cubicBezTo>
                      <a:pt x="472" y="520"/>
                      <a:pt x="528" y="580"/>
                      <a:pt x="528" y="651"/>
                    </a:cubicBezTo>
                    <a:cubicBezTo>
                      <a:pt x="528" y="657"/>
                      <a:pt x="528" y="663"/>
                      <a:pt x="527" y="669"/>
                    </a:cubicBezTo>
                    <a:cubicBezTo>
                      <a:pt x="520" y="723"/>
                      <a:pt x="482" y="767"/>
                      <a:pt x="430" y="781"/>
                    </a:cubicBezTo>
                    <a:cubicBezTo>
                      <a:pt x="454" y="780"/>
                      <a:pt x="477" y="776"/>
                      <a:pt x="500" y="769"/>
                    </a:cubicBezTo>
                    <a:cubicBezTo>
                      <a:pt x="509" y="767"/>
                      <a:pt x="509" y="767"/>
                      <a:pt x="509" y="767"/>
                    </a:cubicBezTo>
                    <a:cubicBezTo>
                      <a:pt x="578" y="748"/>
                      <a:pt x="639" y="709"/>
                      <a:pt x="686" y="656"/>
                    </a:cubicBezTo>
                    <a:cubicBezTo>
                      <a:pt x="731" y="606"/>
                      <a:pt x="731" y="606"/>
                      <a:pt x="731" y="606"/>
                    </a:cubicBezTo>
                    <a:cubicBezTo>
                      <a:pt x="744" y="564"/>
                      <a:pt x="741" y="525"/>
                      <a:pt x="741" y="524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62" name="Freeform 61"/>
              <p:cNvSpPr>
                <a:spLocks/>
              </p:cNvSpPr>
              <p:nvPr/>
            </p:nvSpPr>
            <p:spPr bwMode="auto">
              <a:xfrm>
                <a:off x="5540376" y="2842160"/>
                <a:ext cx="1111397" cy="1099602"/>
              </a:xfrm>
              <a:custGeom>
                <a:avLst/>
                <a:gdLst>
                  <a:gd name="connsiteX0" fmla="*/ 383064 w 1111397"/>
                  <a:gd name="connsiteY0" fmla="*/ 618590 h 1099602"/>
                  <a:gd name="connsiteX1" fmla="*/ 367355 w 1111397"/>
                  <a:gd name="connsiteY1" fmla="*/ 620732 h 1099602"/>
                  <a:gd name="connsiteX2" fmla="*/ 323084 w 1111397"/>
                  <a:gd name="connsiteY2" fmla="*/ 636443 h 1099602"/>
                  <a:gd name="connsiteX3" fmla="*/ 31750 w 1111397"/>
                  <a:gd name="connsiteY3" fmla="*/ 802118 h 1099602"/>
                  <a:gd name="connsiteX4" fmla="*/ 31750 w 1111397"/>
                  <a:gd name="connsiteY4" fmla="*/ 1059915 h 1099602"/>
                  <a:gd name="connsiteX5" fmla="*/ 332366 w 1111397"/>
                  <a:gd name="connsiteY5" fmla="*/ 944228 h 1099602"/>
                  <a:gd name="connsiteX6" fmla="*/ 417338 w 1111397"/>
                  <a:gd name="connsiteY6" fmla="*/ 927803 h 1099602"/>
                  <a:gd name="connsiteX7" fmla="*/ 434476 w 1111397"/>
                  <a:gd name="connsiteY7" fmla="*/ 928517 h 1099602"/>
                  <a:gd name="connsiteX8" fmla="*/ 554436 w 1111397"/>
                  <a:gd name="connsiteY8" fmla="*/ 937087 h 1099602"/>
                  <a:gd name="connsiteX9" fmla="*/ 601564 w 1111397"/>
                  <a:gd name="connsiteY9" fmla="*/ 939229 h 1099602"/>
                  <a:gd name="connsiteX10" fmla="*/ 798642 w 1111397"/>
                  <a:gd name="connsiteY10" fmla="*/ 909236 h 1099602"/>
                  <a:gd name="connsiteX11" fmla="*/ 811495 w 1111397"/>
                  <a:gd name="connsiteY11" fmla="*/ 904952 h 1099602"/>
                  <a:gd name="connsiteX12" fmla="*/ 1024283 w 1111397"/>
                  <a:gd name="connsiteY12" fmla="*/ 764270 h 1099602"/>
                  <a:gd name="connsiteX13" fmla="*/ 1070696 w 1111397"/>
                  <a:gd name="connsiteY13" fmla="*/ 709283 h 1099602"/>
                  <a:gd name="connsiteX14" fmla="*/ 1067126 w 1111397"/>
                  <a:gd name="connsiteY14" fmla="*/ 655010 h 1099602"/>
                  <a:gd name="connsiteX15" fmla="*/ 1041420 w 1111397"/>
                  <a:gd name="connsiteY15" fmla="*/ 645012 h 1099602"/>
                  <a:gd name="connsiteX16" fmla="*/ 1012144 w 1111397"/>
                  <a:gd name="connsiteY16" fmla="*/ 658581 h 1099602"/>
                  <a:gd name="connsiteX17" fmla="*/ 1004289 w 1111397"/>
                  <a:gd name="connsiteY17" fmla="*/ 667150 h 1099602"/>
                  <a:gd name="connsiteX18" fmla="*/ 963588 w 1111397"/>
                  <a:gd name="connsiteY18" fmla="*/ 712854 h 1099602"/>
                  <a:gd name="connsiteX19" fmla="*/ 924316 w 1111397"/>
                  <a:gd name="connsiteY19" fmla="*/ 750702 h 1099602"/>
                  <a:gd name="connsiteX20" fmla="*/ 910034 w 1111397"/>
                  <a:gd name="connsiteY20" fmla="*/ 761414 h 1099602"/>
                  <a:gd name="connsiteX21" fmla="*/ 876474 w 1111397"/>
                  <a:gd name="connsiteY21" fmla="*/ 782123 h 1099602"/>
                  <a:gd name="connsiteX22" fmla="*/ 807211 w 1111397"/>
                  <a:gd name="connsiteY22" fmla="*/ 810688 h 1099602"/>
                  <a:gd name="connsiteX23" fmla="*/ 800784 w 1111397"/>
                  <a:gd name="connsiteY23" fmla="*/ 812830 h 1099602"/>
                  <a:gd name="connsiteX24" fmla="*/ 717954 w 1111397"/>
                  <a:gd name="connsiteY24" fmla="*/ 823542 h 1099602"/>
                  <a:gd name="connsiteX25" fmla="*/ 715098 w 1111397"/>
                  <a:gd name="connsiteY25" fmla="*/ 823542 h 1099602"/>
                  <a:gd name="connsiteX26" fmla="*/ 664401 w 1111397"/>
                  <a:gd name="connsiteY26" fmla="*/ 819257 h 1099602"/>
                  <a:gd name="connsiteX27" fmla="*/ 603706 w 1111397"/>
                  <a:gd name="connsiteY27" fmla="*/ 801404 h 1099602"/>
                  <a:gd name="connsiteX28" fmla="*/ 578714 w 1111397"/>
                  <a:gd name="connsiteY28" fmla="*/ 791407 h 1099602"/>
                  <a:gd name="connsiteX29" fmla="*/ 553008 w 1111397"/>
                  <a:gd name="connsiteY29" fmla="*/ 754987 h 1099602"/>
                  <a:gd name="connsiteX30" fmla="*/ 553008 w 1111397"/>
                  <a:gd name="connsiteY30" fmla="*/ 752844 h 1099602"/>
                  <a:gd name="connsiteX31" fmla="*/ 553008 w 1111397"/>
                  <a:gd name="connsiteY31" fmla="*/ 747131 h 1099602"/>
                  <a:gd name="connsiteX32" fmla="*/ 555151 w 1111397"/>
                  <a:gd name="connsiteY32" fmla="*/ 739276 h 1099602"/>
                  <a:gd name="connsiteX33" fmla="*/ 556579 w 1111397"/>
                  <a:gd name="connsiteY33" fmla="*/ 736420 h 1099602"/>
                  <a:gd name="connsiteX34" fmla="*/ 563719 w 1111397"/>
                  <a:gd name="connsiteY34" fmla="*/ 725708 h 1099602"/>
                  <a:gd name="connsiteX35" fmla="*/ 565147 w 1111397"/>
                  <a:gd name="connsiteY35" fmla="*/ 723565 h 1099602"/>
                  <a:gd name="connsiteX36" fmla="*/ 590139 w 1111397"/>
                  <a:gd name="connsiteY36" fmla="*/ 712140 h 1099602"/>
                  <a:gd name="connsiteX37" fmla="*/ 710814 w 1111397"/>
                  <a:gd name="connsiteY37" fmla="*/ 700714 h 1099602"/>
                  <a:gd name="connsiteX38" fmla="*/ 738662 w 1111397"/>
                  <a:gd name="connsiteY38" fmla="*/ 680004 h 1099602"/>
                  <a:gd name="connsiteX39" fmla="*/ 740804 w 1111397"/>
                  <a:gd name="connsiteY39" fmla="*/ 667150 h 1099602"/>
                  <a:gd name="connsiteX40" fmla="*/ 709386 w 1111397"/>
                  <a:gd name="connsiteY40" fmla="*/ 634301 h 1099602"/>
                  <a:gd name="connsiteX41" fmla="*/ 445901 w 1111397"/>
                  <a:gd name="connsiteY41" fmla="*/ 620732 h 1099602"/>
                  <a:gd name="connsiteX42" fmla="*/ 433762 w 1111397"/>
                  <a:gd name="connsiteY42" fmla="*/ 620018 h 1099602"/>
                  <a:gd name="connsiteX43" fmla="*/ 416624 w 1111397"/>
                  <a:gd name="connsiteY43" fmla="*/ 619304 h 1099602"/>
                  <a:gd name="connsiteX44" fmla="*/ 400201 w 1111397"/>
                  <a:gd name="connsiteY44" fmla="*/ 618590 h 1099602"/>
                  <a:gd name="connsiteX45" fmla="*/ 399487 w 1111397"/>
                  <a:gd name="connsiteY45" fmla="*/ 618590 h 1099602"/>
                  <a:gd name="connsiteX46" fmla="*/ 393061 w 1111397"/>
                  <a:gd name="connsiteY46" fmla="*/ 618590 h 1099602"/>
                  <a:gd name="connsiteX47" fmla="*/ 383064 w 1111397"/>
                  <a:gd name="connsiteY47" fmla="*/ 618590 h 1099602"/>
                  <a:gd name="connsiteX48" fmla="*/ 378539 w 1111397"/>
                  <a:gd name="connsiteY48" fmla="*/ 586840 h 1099602"/>
                  <a:gd name="connsiteX49" fmla="*/ 392823 w 1111397"/>
                  <a:gd name="connsiteY49" fmla="*/ 586840 h 1099602"/>
                  <a:gd name="connsiteX50" fmla="*/ 394252 w 1111397"/>
                  <a:gd name="connsiteY50" fmla="*/ 586840 h 1099602"/>
                  <a:gd name="connsiteX51" fmla="*/ 401394 w 1111397"/>
                  <a:gd name="connsiteY51" fmla="*/ 586840 h 1099602"/>
                  <a:gd name="connsiteX52" fmla="*/ 409964 w 1111397"/>
                  <a:gd name="connsiteY52" fmla="*/ 586840 h 1099602"/>
                  <a:gd name="connsiteX53" fmla="*/ 426392 w 1111397"/>
                  <a:gd name="connsiteY53" fmla="*/ 588270 h 1099602"/>
                  <a:gd name="connsiteX54" fmla="*/ 434962 w 1111397"/>
                  <a:gd name="connsiteY54" fmla="*/ 588270 h 1099602"/>
                  <a:gd name="connsiteX55" fmla="*/ 710652 w 1111397"/>
                  <a:gd name="connsiteY55" fmla="*/ 602573 h 1099602"/>
                  <a:gd name="connsiteX56" fmla="*/ 772076 w 1111397"/>
                  <a:gd name="connsiteY56" fmla="*/ 666937 h 1099602"/>
                  <a:gd name="connsiteX57" fmla="*/ 770647 w 1111397"/>
                  <a:gd name="connsiteY57" fmla="*/ 679810 h 1099602"/>
                  <a:gd name="connsiteX58" fmla="*/ 713509 w 1111397"/>
                  <a:gd name="connsiteY58" fmla="*/ 731300 h 1099602"/>
                  <a:gd name="connsiteX59" fmla="*/ 606376 w 1111397"/>
                  <a:gd name="connsiteY59" fmla="*/ 742028 h 1099602"/>
                  <a:gd name="connsiteX60" fmla="*/ 597805 w 1111397"/>
                  <a:gd name="connsiteY60" fmla="*/ 742743 h 1099602"/>
                  <a:gd name="connsiteX61" fmla="*/ 592806 w 1111397"/>
                  <a:gd name="connsiteY61" fmla="*/ 743458 h 1099602"/>
                  <a:gd name="connsiteX62" fmla="*/ 584235 w 1111397"/>
                  <a:gd name="connsiteY62" fmla="*/ 750609 h 1099602"/>
                  <a:gd name="connsiteX63" fmla="*/ 584235 w 1111397"/>
                  <a:gd name="connsiteY63" fmla="*/ 752755 h 1099602"/>
                  <a:gd name="connsiteX64" fmla="*/ 589949 w 1111397"/>
                  <a:gd name="connsiteY64" fmla="*/ 762052 h 1099602"/>
                  <a:gd name="connsiteX65" fmla="*/ 615661 w 1111397"/>
                  <a:gd name="connsiteY65" fmla="*/ 772779 h 1099602"/>
                  <a:gd name="connsiteX66" fmla="*/ 618518 w 1111397"/>
                  <a:gd name="connsiteY66" fmla="*/ 773494 h 1099602"/>
                  <a:gd name="connsiteX67" fmla="*/ 674941 w 1111397"/>
                  <a:gd name="connsiteY67" fmla="*/ 789227 h 1099602"/>
                  <a:gd name="connsiteX68" fmla="*/ 690654 w 1111397"/>
                  <a:gd name="connsiteY68" fmla="*/ 790658 h 1099602"/>
                  <a:gd name="connsiteX69" fmla="*/ 690654 w 1111397"/>
                  <a:gd name="connsiteY69" fmla="*/ 791373 h 1099602"/>
                  <a:gd name="connsiteX70" fmla="*/ 709224 w 1111397"/>
                  <a:gd name="connsiteY70" fmla="*/ 792088 h 1099602"/>
                  <a:gd name="connsiteX71" fmla="*/ 717795 w 1111397"/>
                  <a:gd name="connsiteY71" fmla="*/ 792088 h 1099602"/>
                  <a:gd name="connsiteX72" fmla="*/ 757791 w 1111397"/>
                  <a:gd name="connsiteY72" fmla="*/ 789227 h 1099602"/>
                  <a:gd name="connsiteX73" fmla="*/ 784932 w 1111397"/>
                  <a:gd name="connsiteY73" fmla="*/ 784221 h 1099602"/>
                  <a:gd name="connsiteX74" fmla="*/ 792074 w 1111397"/>
                  <a:gd name="connsiteY74" fmla="*/ 782076 h 1099602"/>
                  <a:gd name="connsiteX75" fmla="*/ 798502 w 1111397"/>
                  <a:gd name="connsiteY75" fmla="*/ 780646 h 1099602"/>
                  <a:gd name="connsiteX76" fmla="*/ 859211 w 1111397"/>
                  <a:gd name="connsiteY76" fmla="*/ 756331 h 1099602"/>
                  <a:gd name="connsiteX77" fmla="*/ 864210 w 1111397"/>
                  <a:gd name="connsiteY77" fmla="*/ 753470 h 1099602"/>
                  <a:gd name="connsiteX78" fmla="*/ 895636 w 1111397"/>
                  <a:gd name="connsiteY78" fmla="*/ 732731 h 1099602"/>
                  <a:gd name="connsiteX79" fmla="*/ 899207 w 1111397"/>
                  <a:gd name="connsiteY79" fmla="*/ 730585 h 1099602"/>
                  <a:gd name="connsiteX80" fmla="*/ 924919 w 1111397"/>
                  <a:gd name="connsiteY80" fmla="*/ 707700 h 1099602"/>
                  <a:gd name="connsiteX81" fmla="*/ 939918 w 1111397"/>
                  <a:gd name="connsiteY81" fmla="*/ 691967 h 1099602"/>
                  <a:gd name="connsiteX82" fmla="*/ 976344 w 1111397"/>
                  <a:gd name="connsiteY82" fmla="*/ 651204 h 1099602"/>
                  <a:gd name="connsiteX83" fmla="*/ 977058 w 1111397"/>
                  <a:gd name="connsiteY83" fmla="*/ 650488 h 1099602"/>
                  <a:gd name="connsiteX84" fmla="*/ 988485 w 1111397"/>
                  <a:gd name="connsiteY84" fmla="*/ 636901 h 1099602"/>
                  <a:gd name="connsiteX85" fmla="*/ 999199 w 1111397"/>
                  <a:gd name="connsiteY85" fmla="*/ 627604 h 1099602"/>
                  <a:gd name="connsiteX86" fmla="*/ 1017054 w 1111397"/>
                  <a:gd name="connsiteY86" fmla="*/ 618307 h 1099602"/>
                  <a:gd name="connsiteX87" fmla="*/ 1041338 w 1111397"/>
                  <a:gd name="connsiteY87" fmla="*/ 613301 h 1099602"/>
                  <a:gd name="connsiteX88" fmla="*/ 1088477 w 1111397"/>
                  <a:gd name="connsiteY88" fmla="*/ 631895 h 1099602"/>
                  <a:gd name="connsiteX89" fmla="*/ 1094905 w 1111397"/>
                  <a:gd name="connsiteY89" fmla="*/ 729155 h 1099602"/>
                  <a:gd name="connsiteX90" fmla="*/ 1047766 w 1111397"/>
                  <a:gd name="connsiteY90" fmla="*/ 784221 h 1099602"/>
                  <a:gd name="connsiteX91" fmla="*/ 820643 w 1111397"/>
                  <a:gd name="connsiteY91" fmla="*/ 935118 h 1099602"/>
                  <a:gd name="connsiteX92" fmla="*/ 807787 w 1111397"/>
                  <a:gd name="connsiteY92" fmla="*/ 939409 h 1099602"/>
                  <a:gd name="connsiteX93" fmla="*/ 601376 w 1111397"/>
                  <a:gd name="connsiteY93" fmla="*/ 970875 h 1099602"/>
                  <a:gd name="connsiteX94" fmla="*/ 552095 w 1111397"/>
                  <a:gd name="connsiteY94" fmla="*/ 968730 h 1099602"/>
                  <a:gd name="connsiteX95" fmla="*/ 431391 w 1111397"/>
                  <a:gd name="connsiteY95" fmla="*/ 960148 h 1099602"/>
                  <a:gd name="connsiteX96" fmla="*/ 417107 w 1111397"/>
                  <a:gd name="connsiteY96" fmla="*/ 959433 h 1099602"/>
                  <a:gd name="connsiteX97" fmla="*/ 343542 w 1111397"/>
                  <a:gd name="connsiteY97" fmla="*/ 973736 h 1099602"/>
                  <a:gd name="connsiteX98" fmla="*/ 21427 w 1111397"/>
                  <a:gd name="connsiteY98" fmla="*/ 1098172 h 1099602"/>
                  <a:gd name="connsiteX99" fmla="*/ 15713 w 1111397"/>
                  <a:gd name="connsiteY99" fmla="*/ 1099602 h 1099602"/>
                  <a:gd name="connsiteX100" fmla="*/ 0 w 1111397"/>
                  <a:gd name="connsiteY100" fmla="*/ 1083154 h 1099602"/>
                  <a:gd name="connsiteX101" fmla="*/ 0 w 1111397"/>
                  <a:gd name="connsiteY101" fmla="*/ 793518 h 1099602"/>
                  <a:gd name="connsiteX102" fmla="*/ 7857 w 1111397"/>
                  <a:gd name="connsiteY102" fmla="*/ 779930 h 1099602"/>
                  <a:gd name="connsiteX103" fmla="*/ 307116 w 1111397"/>
                  <a:gd name="connsiteY103" fmla="*/ 609010 h 1099602"/>
                  <a:gd name="connsiteX104" fmla="*/ 362826 w 1111397"/>
                  <a:gd name="connsiteY104" fmla="*/ 588986 h 1099602"/>
                  <a:gd name="connsiteX105" fmla="*/ 378539 w 1111397"/>
                  <a:gd name="connsiteY105" fmla="*/ 586840 h 1099602"/>
                  <a:gd name="connsiteX106" fmla="*/ 636066 w 1111397"/>
                  <a:gd name="connsiteY106" fmla="*/ 179 h 1099602"/>
                  <a:gd name="connsiteX107" fmla="*/ 745933 w 1111397"/>
                  <a:gd name="connsiteY107" fmla="*/ 179 h 1099602"/>
                  <a:gd name="connsiteX108" fmla="*/ 782318 w 1111397"/>
                  <a:gd name="connsiteY108" fmla="*/ 15891 h 1099602"/>
                  <a:gd name="connsiteX109" fmla="*/ 786599 w 1111397"/>
                  <a:gd name="connsiteY109" fmla="*/ 32317 h 1099602"/>
                  <a:gd name="connsiteX110" fmla="*/ 855801 w 1111397"/>
                  <a:gd name="connsiteY110" fmla="*/ 90881 h 1099602"/>
                  <a:gd name="connsiteX111" fmla="*/ 789452 w 1111397"/>
                  <a:gd name="connsiteY111" fmla="*/ 169441 h 1099602"/>
                  <a:gd name="connsiteX112" fmla="*/ 788739 w 1111397"/>
                  <a:gd name="connsiteY112" fmla="*/ 170155 h 1099602"/>
                  <a:gd name="connsiteX113" fmla="*/ 782318 w 1111397"/>
                  <a:gd name="connsiteY113" fmla="*/ 181582 h 1099602"/>
                  <a:gd name="connsiteX114" fmla="*/ 785885 w 1111397"/>
                  <a:gd name="connsiteY114" fmla="*/ 187296 h 1099602"/>
                  <a:gd name="connsiteX115" fmla="*/ 1018462 w 1111397"/>
                  <a:gd name="connsiteY115" fmla="*/ 572241 h 1099602"/>
                  <a:gd name="connsiteX116" fmla="*/ 1019175 w 1111397"/>
                  <a:gd name="connsiteY116" fmla="*/ 584382 h 1099602"/>
                  <a:gd name="connsiteX117" fmla="*/ 1003480 w 1111397"/>
                  <a:gd name="connsiteY117" fmla="*/ 589382 h 1099602"/>
                  <a:gd name="connsiteX118" fmla="*/ 987071 w 1111397"/>
                  <a:gd name="connsiteY118" fmla="*/ 597952 h 1099602"/>
                  <a:gd name="connsiteX119" fmla="*/ 987784 w 1111397"/>
                  <a:gd name="connsiteY119" fmla="*/ 574384 h 1099602"/>
                  <a:gd name="connsiteX120" fmla="*/ 987071 w 1111397"/>
                  <a:gd name="connsiteY120" fmla="*/ 572955 h 1099602"/>
                  <a:gd name="connsiteX121" fmla="*/ 765909 w 1111397"/>
                  <a:gd name="connsiteY121" fmla="*/ 211578 h 1099602"/>
                  <a:gd name="connsiteX122" fmla="*/ 750927 w 1111397"/>
                  <a:gd name="connsiteY122" fmla="*/ 181582 h 1099602"/>
                  <a:gd name="connsiteX123" fmla="*/ 768049 w 1111397"/>
                  <a:gd name="connsiteY123" fmla="*/ 146587 h 1099602"/>
                  <a:gd name="connsiteX124" fmla="*/ 822983 w 1111397"/>
                  <a:gd name="connsiteY124" fmla="*/ 88738 h 1099602"/>
                  <a:gd name="connsiteX125" fmla="*/ 776611 w 1111397"/>
                  <a:gd name="connsiteY125" fmla="*/ 63027 h 1099602"/>
                  <a:gd name="connsiteX126" fmla="*/ 750927 w 1111397"/>
                  <a:gd name="connsiteY126" fmla="*/ 115163 h 1099602"/>
                  <a:gd name="connsiteX127" fmla="*/ 736659 w 1111397"/>
                  <a:gd name="connsiteY127" fmla="*/ 124447 h 1099602"/>
                  <a:gd name="connsiteX128" fmla="*/ 730238 w 1111397"/>
                  <a:gd name="connsiteY128" fmla="*/ 123019 h 1099602"/>
                  <a:gd name="connsiteX129" fmla="*/ 720963 w 1111397"/>
                  <a:gd name="connsiteY129" fmla="*/ 108735 h 1099602"/>
                  <a:gd name="connsiteX130" fmla="*/ 722390 w 1111397"/>
                  <a:gd name="connsiteY130" fmla="*/ 102308 h 1099602"/>
                  <a:gd name="connsiteX131" fmla="*/ 750214 w 1111397"/>
                  <a:gd name="connsiteY131" fmla="*/ 46601 h 1099602"/>
                  <a:gd name="connsiteX132" fmla="*/ 751641 w 1111397"/>
                  <a:gd name="connsiteY132" fmla="*/ 43030 h 1099602"/>
                  <a:gd name="connsiteX133" fmla="*/ 755208 w 1111397"/>
                  <a:gd name="connsiteY133" fmla="*/ 33032 h 1099602"/>
                  <a:gd name="connsiteX134" fmla="*/ 746647 w 1111397"/>
                  <a:gd name="connsiteY134" fmla="*/ 31603 h 1099602"/>
                  <a:gd name="connsiteX135" fmla="*/ 745933 w 1111397"/>
                  <a:gd name="connsiteY135" fmla="*/ 31603 h 1099602"/>
                  <a:gd name="connsiteX136" fmla="*/ 636066 w 1111397"/>
                  <a:gd name="connsiteY136" fmla="*/ 31603 h 1099602"/>
                  <a:gd name="connsiteX137" fmla="*/ 634639 w 1111397"/>
                  <a:gd name="connsiteY137" fmla="*/ 31603 h 1099602"/>
                  <a:gd name="connsiteX138" fmla="*/ 626791 w 1111397"/>
                  <a:gd name="connsiteY138" fmla="*/ 33032 h 1099602"/>
                  <a:gd name="connsiteX139" fmla="*/ 630358 w 1111397"/>
                  <a:gd name="connsiteY139" fmla="*/ 43030 h 1099602"/>
                  <a:gd name="connsiteX140" fmla="*/ 631785 w 1111397"/>
                  <a:gd name="connsiteY140" fmla="*/ 46601 h 1099602"/>
                  <a:gd name="connsiteX141" fmla="*/ 659609 w 1111397"/>
                  <a:gd name="connsiteY141" fmla="*/ 102308 h 1099602"/>
                  <a:gd name="connsiteX142" fmla="*/ 661036 w 1111397"/>
                  <a:gd name="connsiteY142" fmla="*/ 108735 h 1099602"/>
                  <a:gd name="connsiteX143" fmla="*/ 651761 w 1111397"/>
                  <a:gd name="connsiteY143" fmla="*/ 123019 h 1099602"/>
                  <a:gd name="connsiteX144" fmla="*/ 631072 w 1111397"/>
                  <a:gd name="connsiteY144" fmla="*/ 115163 h 1099602"/>
                  <a:gd name="connsiteX145" fmla="*/ 605388 w 1111397"/>
                  <a:gd name="connsiteY145" fmla="*/ 63027 h 1099602"/>
                  <a:gd name="connsiteX146" fmla="*/ 559016 w 1111397"/>
                  <a:gd name="connsiteY146" fmla="*/ 88738 h 1099602"/>
                  <a:gd name="connsiteX147" fmla="*/ 613950 w 1111397"/>
                  <a:gd name="connsiteY147" fmla="*/ 146587 h 1099602"/>
                  <a:gd name="connsiteX148" fmla="*/ 631072 w 1111397"/>
                  <a:gd name="connsiteY148" fmla="*/ 181582 h 1099602"/>
                  <a:gd name="connsiteX149" fmla="*/ 616090 w 1111397"/>
                  <a:gd name="connsiteY149" fmla="*/ 211578 h 1099602"/>
                  <a:gd name="connsiteX150" fmla="*/ 395641 w 1111397"/>
                  <a:gd name="connsiteY150" fmla="*/ 555101 h 1099602"/>
                  <a:gd name="connsiteX151" fmla="*/ 393501 w 1111397"/>
                  <a:gd name="connsiteY151" fmla="*/ 555101 h 1099602"/>
                  <a:gd name="connsiteX152" fmla="*/ 379946 w 1111397"/>
                  <a:gd name="connsiteY152" fmla="*/ 555815 h 1099602"/>
                  <a:gd name="connsiteX153" fmla="*/ 363537 w 1111397"/>
                  <a:gd name="connsiteY153" fmla="*/ 557243 h 1099602"/>
                  <a:gd name="connsiteX154" fmla="*/ 596114 w 1111397"/>
                  <a:gd name="connsiteY154" fmla="*/ 187296 h 1099602"/>
                  <a:gd name="connsiteX155" fmla="*/ 599681 w 1111397"/>
                  <a:gd name="connsiteY155" fmla="*/ 181582 h 1099602"/>
                  <a:gd name="connsiteX156" fmla="*/ 593260 w 1111397"/>
                  <a:gd name="connsiteY156" fmla="*/ 170155 h 1099602"/>
                  <a:gd name="connsiteX157" fmla="*/ 592547 w 1111397"/>
                  <a:gd name="connsiteY157" fmla="*/ 169441 h 1099602"/>
                  <a:gd name="connsiteX158" fmla="*/ 526198 w 1111397"/>
                  <a:gd name="connsiteY158" fmla="*/ 90881 h 1099602"/>
                  <a:gd name="connsiteX159" fmla="*/ 595401 w 1111397"/>
                  <a:gd name="connsiteY159" fmla="*/ 32317 h 1099602"/>
                  <a:gd name="connsiteX160" fmla="*/ 599681 w 1111397"/>
                  <a:gd name="connsiteY160" fmla="*/ 15891 h 1099602"/>
                  <a:gd name="connsiteX161" fmla="*/ 636066 w 1111397"/>
                  <a:gd name="connsiteY161" fmla="*/ 179 h 109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111397" h="1099602">
                    <a:moveTo>
                      <a:pt x="383064" y="618590"/>
                    </a:moveTo>
                    <a:cubicBezTo>
                      <a:pt x="378066" y="618590"/>
                      <a:pt x="373067" y="619304"/>
                      <a:pt x="367355" y="620732"/>
                    </a:cubicBezTo>
                    <a:cubicBezTo>
                      <a:pt x="352360" y="623589"/>
                      <a:pt x="336651" y="628588"/>
                      <a:pt x="323084" y="636443"/>
                    </a:cubicBezTo>
                    <a:cubicBezTo>
                      <a:pt x="323084" y="636443"/>
                      <a:pt x="323084" y="636443"/>
                      <a:pt x="31750" y="802118"/>
                    </a:cubicBezTo>
                    <a:cubicBezTo>
                      <a:pt x="31750" y="802118"/>
                      <a:pt x="31750" y="802118"/>
                      <a:pt x="31750" y="1059915"/>
                    </a:cubicBezTo>
                    <a:cubicBezTo>
                      <a:pt x="31750" y="1059915"/>
                      <a:pt x="31750" y="1059915"/>
                      <a:pt x="332366" y="944228"/>
                    </a:cubicBezTo>
                    <a:cubicBezTo>
                      <a:pt x="359500" y="933516"/>
                      <a:pt x="388062" y="927803"/>
                      <a:pt x="417338" y="927803"/>
                    </a:cubicBezTo>
                    <a:cubicBezTo>
                      <a:pt x="423051" y="927803"/>
                      <a:pt x="428763" y="928517"/>
                      <a:pt x="434476" y="928517"/>
                    </a:cubicBezTo>
                    <a:cubicBezTo>
                      <a:pt x="434476" y="928517"/>
                      <a:pt x="434476" y="928517"/>
                      <a:pt x="554436" y="937087"/>
                    </a:cubicBezTo>
                    <a:cubicBezTo>
                      <a:pt x="570146" y="938515"/>
                      <a:pt x="585855" y="939229"/>
                      <a:pt x="601564" y="939229"/>
                    </a:cubicBezTo>
                    <a:cubicBezTo>
                      <a:pt x="668685" y="939229"/>
                      <a:pt x="735092" y="929232"/>
                      <a:pt x="798642" y="909236"/>
                    </a:cubicBezTo>
                    <a:cubicBezTo>
                      <a:pt x="798642" y="909236"/>
                      <a:pt x="798642" y="909236"/>
                      <a:pt x="811495" y="904952"/>
                    </a:cubicBezTo>
                    <a:cubicBezTo>
                      <a:pt x="894325" y="879243"/>
                      <a:pt x="967873" y="830683"/>
                      <a:pt x="1024283" y="764270"/>
                    </a:cubicBezTo>
                    <a:cubicBezTo>
                      <a:pt x="1024283" y="764270"/>
                      <a:pt x="1024283" y="764270"/>
                      <a:pt x="1070696" y="709283"/>
                    </a:cubicBezTo>
                    <a:cubicBezTo>
                      <a:pt x="1084263" y="692858"/>
                      <a:pt x="1082835" y="669293"/>
                      <a:pt x="1067126" y="655010"/>
                    </a:cubicBezTo>
                    <a:cubicBezTo>
                      <a:pt x="1059985" y="648583"/>
                      <a:pt x="1050703" y="645012"/>
                      <a:pt x="1041420" y="645012"/>
                    </a:cubicBezTo>
                    <a:cubicBezTo>
                      <a:pt x="1029995" y="645012"/>
                      <a:pt x="1019999" y="650011"/>
                      <a:pt x="1012144" y="658581"/>
                    </a:cubicBezTo>
                    <a:cubicBezTo>
                      <a:pt x="1012144" y="658581"/>
                      <a:pt x="1012144" y="658581"/>
                      <a:pt x="1004289" y="667150"/>
                    </a:cubicBezTo>
                    <a:cubicBezTo>
                      <a:pt x="1004289" y="667150"/>
                      <a:pt x="1004289" y="667150"/>
                      <a:pt x="963588" y="712854"/>
                    </a:cubicBezTo>
                    <a:cubicBezTo>
                      <a:pt x="951450" y="726422"/>
                      <a:pt x="938597" y="739276"/>
                      <a:pt x="924316" y="750702"/>
                    </a:cubicBezTo>
                    <a:cubicBezTo>
                      <a:pt x="919317" y="754273"/>
                      <a:pt x="915033" y="757843"/>
                      <a:pt x="910034" y="761414"/>
                    </a:cubicBezTo>
                    <a:cubicBezTo>
                      <a:pt x="899324" y="769269"/>
                      <a:pt x="888613" y="775696"/>
                      <a:pt x="876474" y="782123"/>
                    </a:cubicBezTo>
                    <a:cubicBezTo>
                      <a:pt x="855052" y="794263"/>
                      <a:pt x="831489" y="804261"/>
                      <a:pt x="807211" y="810688"/>
                    </a:cubicBezTo>
                    <a:cubicBezTo>
                      <a:pt x="807211" y="810688"/>
                      <a:pt x="807211" y="810688"/>
                      <a:pt x="800784" y="812830"/>
                    </a:cubicBezTo>
                    <a:cubicBezTo>
                      <a:pt x="773650" y="819971"/>
                      <a:pt x="746517" y="823542"/>
                      <a:pt x="717954" y="823542"/>
                    </a:cubicBezTo>
                    <a:cubicBezTo>
                      <a:pt x="717240" y="823542"/>
                      <a:pt x="715812" y="823542"/>
                      <a:pt x="715098" y="823542"/>
                    </a:cubicBezTo>
                    <a:cubicBezTo>
                      <a:pt x="697961" y="823542"/>
                      <a:pt x="680824" y="822114"/>
                      <a:pt x="664401" y="819257"/>
                    </a:cubicBezTo>
                    <a:cubicBezTo>
                      <a:pt x="643693" y="815687"/>
                      <a:pt x="623700" y="809260"/>
                      <a:pt x="603706" y="801404"/>
                    </a:cubicBezTo>
                    <a:cubicBezTo>
                      <a:pt x="603706" y="801404"/>
                      <a:pt x="603706" y="801404"/>
                      <a:pt x="578714" y="791407"/>
                    </a:cubicBezTo>
                    <a:cubicBezTo>
                      <a:pt x="563005" y="785694"/>
                      <a:pt x="553722" y="770697"/>
                      <a:pt x="553008" y="754987"/>
                    </a:cubicBezTo>
                    <a:cubicBezTo>
                      <a:pt x="553008" y="754273"/>
                      <a:pt x="553008" y="753558"/>
                      <a:pt x="553008" y="752844"/>
                    </a:cubicBezTo>
                    <a:cubicBezTo>
                      <a:pt x="553008" y="750702"/>
                      <a:pt x="553008" y="749274"/>
                      <a:pt x="553008" y="747131"/>
                    </a:cubicBezTo>
                    <a:cubicBezTo>
                      <a:pt x="553722" y="744275"/>
                      <a:pt x="554436" y="741418"/>
                      <a:pt x="555151" y="739276"/>
                    </a:cubicBezTo>
                    <a:cubicBezTo>
                      <a:pt x="555865" y="738562"/>
                      <a:pt x="555865" y="737134"/>
                      <a:pt x="556579" y="736420"/>
                    </a:cubicBezTo>
                    <a:cubicBezTo>
                      <a:pt x="558007" y="732135"/>
                      <a:pt x="560149" y="728564"/>
                      <a:pt x="563719" y="725708"/>
                    </a:cubicBezTo>
                    <a:cubicBezTo>
                      <a:pt x="563719" y="724994"/>
                      <a:pt x="564433" y="724280"/>
                      <a:pt x="565147" y="723565"/>
                    </a:cubicBezTo>
                    <a:cubicBezTo>
                      <a:pt x="571574" y="717138"/>
                      <a:pt x="580142" y="712854"/>
                      <a:pt x="590139" y="712140"/>
                    </a:cubicBezTo>
                    <a:cubicBezTo>
                      <a:pt x="590139" y="712140"/>
                      <a:pt x="590139" y="712140"/>
                      <a:pt x="710814" y="700714"/>
                    </a:cubicBezTo>
                    <a:cubicBezTo>
                      <a:pt x="723667" y="699285"/>
                      <a:pt x="733664" y="690716"/>
                      <a:pt x="738662" y="680004"/>
                    </a:cubicBezTo>
                    <a:cubicBezTo>
                      <a:pt x="740090" y="675720"/>
                      <a:pt x="740804" y="672149"/>
                      <a:pt x="740804" y="667150"/>
                    </a:cubicBezTo>
                    <a:cubicBezTo>
                      <a:pt x="740804" y="650011"/>
                      <a:pt x="727237" y="635015"/>
                      <a:pt x="709386" y="634301"/>
                    </a:cubicBezTo>
                    <a:cubicBezTo>
                      <a:pt x="709386" y="634301"/>
                      <a:pt x="709386" y="634301"/>
                      <a:pt x="445901" y="620732"/>
                    </a:cubicBezTo>
                    <a:cubicBezTo>
                      <a:pt x="445901" y="620732"/>
                      <a:pt x="445901" y="620732"/>
                      <a:pt x="433762" y="620018"/>
                    </a:cubicBezTo>
                    <a:cubicBezTo>
                      <a:pt x="433762" y="620018"/>
                      <a:pt x="433762" y="620018"/>
                      <a:pt x="416624" y="619304"/>
                    </a:cubicBezTo>
                    <a:cubicBezTo>
                      <a:pt x="416624" y="619304"/>
                      <a:pt x="416624" y="619304"/>
                      <a:pt x="400201" y="618590"/>
                    </a:cubicBezTo>
                    <a:cubicBezTo>
                      <a:pt x="400201" y="618590"/>
                      <a:pt x="399487" y="618590"/>
                      <a:pt x="399487" y="618590"/>
                    </a:cubicBezTo>
                    <a:cubicBezTo>
                      <a:pt x="397345" y="618590"/>
                      <a:pt x="395203" y="618590"/>
                      <a:pt x="393061" y="618590"/>
                    </a:cubicBezTo>
                    <a:cubicBezTo>
                      <a:pt x="389490" y="618590"/>
                      <a:pt x="386634" y="618590"/>
                      <a:pt x="383064" y="618590"/>
                    </a:cubicBezTo>
                    <a:close/>
                    <a:moveTo>
                      <a:pt x="378539" y="586840"/>
                    </a:moveTo>
                    <a:cubicBezTo>
                      <a:pt x="382824" y="586840"/>
                      <a:pt x="387824" y="586840"/>
                      <a:pt x="392823" y="586840"/>
                    </a:cubicBezTo>
                    <a:cubicBezTo>
                      <a:pt x="392823" y="586840"/>
                      <a:pt x="393537" y="586840"/>
                      <a:pt x="394252" y="586840"/>
                    </a:cubicBezTo>
                    <a:cubicBezTo>
                      <a:pt x="397108" y="586840"/>
                      <a:pt x="399251" y="586840"/>
                      <a:pt x="401394" y="586840"/>
                    </a:cubicBezTo>
                    <a:cubicBezTo>
                      <a:pt x="401394" y="586840"/>
                      <a:pt x="401394" y="586840"/>
                      <a:pt x="409964" y="586840"/>
                    </a:cubicBezTo>
                    <a:cubicBezTo>
                      <a:pt x="409964" y="586840"/>
                      <a:pt x="409964" y="586840"/>
                      <a:pt x="426392" y="588270"/>
                    </a:cubicBezTo>
                    <a:cubicBezTo>
                      <a:pt x="426392" y="588270"/>
                      <a:pt x="426392" y="588270"/>
                      <a:pt x="434962" y="588270"/>
                    </a:cubicBezTo>
                    <a:cubicBezTo>
                      <a:pt x="434962" y="588270"/>
                      <a:pt x="434962" y="588270"/>
                      <a:pt x="710652" y="602573"/>
                    </a:cubicBezTo>
                    <a:cubicBezTo>
                      <a:pt x="744935" y="604719"/>
                      <a:pt x="772076" y="632610"/>
                      <a:pt x="772076" y="666937"/>
                    </a:cubicBezTo>
                    <a:cubicBezTo>
                      <a:pt x="772076" y="671228"/>
                      <a:pt x="771361" y="675519"/>
                      <a:pt x="770647" y="679810"/>
                    </a:cubicBezTo>
                    <a:cubicBezTo>
                      <a:pt x="765648" y="706985"/>
                      <a:pt x="742793" y="728440"/>
                      <a:pt x="713509" y="731300"/>
                    </a:cubicBezTo>
                    <a:cubicBezTo>
                      <a:pt x="713509" y="731300"/>
                      <a:pt x="713509" y="731300"/>
                      <a:pt x="606376" y="742028"/>
                    </a:cubicBezTo>
                    <a:cubicBezTo>
                      <a:pt x="606376" y="742028"/>
                      <a:pt x="606376" y="742028"/>
                      <a:pt x="597805" y="742743"/>
                    </a:cubicBezTo>
                    <a:cubicBezTo>
                      <a:pt x="597805" y="742743"/>
                      <a:pt x="597805" y="742743"/>
                      <a:pt x="592806" y="743458"/>
                    </a:cubicBezTo>
                    <a:cubicBezTo>
                      <a:pt x="588520" y="743458"/>
                      <a:pt x="585663" y="747034"/>
                      <a:pt x="584235" y="750609"/>
                    </a:cubicBezTo>
                    <a:cubicBezTo>
                      <a:pt x="584235" y="751324"/>
                      <a:pt x="584235" y="752040"/>
                      <a:pt x="584235" y="752755"/>
                    </a:cubicBezTo>
                    <a:cubicBezTo>
                      <a:pt x="583521" y="757046"/>
                      <a:pt x="585663" y="760621"/>
                      <a:pt x="589949" y="762052"/>
                    </a:cubicBezTo>
                    <a:cubicBezTo>
                      <a:pt x="589949" y="762052"/>
                      <a:pt x="589949" y="762052"/>
                      <a:pt x="615661" y="772779"/>
                    </a:cubicBezTo>
                    <a:cubicBezTo>
                      <a:pt x="616375" y="772779"/>
                      <a:pt x="617803" y="773494"/>
                      <a:pt x="618518" y="773494"/>
                    </a:cubicBezTo>
                    <a:cubicBezTo>
                      <a:pt x="637087" y="780646"/>
                      <a:pt x="655657" y="785652"/>
                      <a:pt x="674941" y="789227"/>
                    </a:cubicBezTo>
                    <a:cubicBezTo>
                      <a:pt x="679941" y="789943"/>
                      <a:pt x="684940" y="790658"/>
                      <a:pt x="690654" y="790658"/>
                    </a:cubicBezTo>
                    <a:cubicBezTo>
                      <a:pt x="690654" y="791373"/>
                      <a:pt x="690654" y="791373"/>
                      <a:pt x="690654" y="791373"/>
                    </a:cubicBezTo>
                    <a:cubicBezTo>
                      <a:pt x="697082" y="791373"/>
                      <a:pt x="702796" y="792088"/>
                      <a:pt x="709224" y="792088"/>
                    </a:cubicBezTo>
                    <a:cubicBezTo>
                      <a:pt x="712081" y="792088"/>
                      <a:pt x="714938" y="792088"/>
                      <a:pt x="717795" y="792088"/>
                    </a:cubicBezTo>
                    <a:cubicBezTo>
                      <a:pt x="731365" y="792088"/>
                      <a:pt x="744221" y="791373"/>
                      <a:pt x="757791" y="789227"/>
                    </a:cubicBezTo>
                    <a:cubicBezTo>
                      <a:pt x="766362" y="788512"/>
                      <a:pt x="775647" y="786367"/>
                      <a:pt x="784932" y="784221"/>
                    </a:cubicBezTo>
                    <a:cubicBezTo>
                      <a:pt x="787074" y="783506"/>
                      <a:pt x="789931" y="782791"/>
                      <a:pt x="792074" y="782076"/>
                    </a:cubicBezTo>
                    <a:cubicBezTo>
                      <a:pt x="792074" y="782076"/>
                      <a:pt x="792074" y="782076"/>
                      <a:pt x="798502" y="780646"/>
                    </a:cubicBezTo>
                    <a:cubicBezTo>
                      <a:pt x="819929" y="774209"/>
                      <a:pt x="839927" y="766343"/>
                      <a:pt x="859211" y="756331"/>
                    </a:cubicBezTo>
                    <a:cubicBezTo>
                      <a:pt x="860639" y="754900"/>
                      <a:pt x="862782" y="754185"/>
                      <a:pt x="864210" y="753470"/>
                    </a:cubicBezTo>
                    <a:cubicBezTo>
                      <a:pt x="874924" y="747034"/>
                      <a:pt x="885637" y="740597"/>
                      <a:pt x="895636" y="732731"/>
                    </a:cubicBezTo>
                    <a:cubicBezTo>
                      <a:pt x="896351" y="732015"/>
                      <a:pt x="897779" y="731300"/>
                      <a:pt x="899207" y="730585"/>
                    </a:cubicBezTo>
                    <a:cubicBezTo>
                      <a:pt x="907778" y="723434"/>
                      <a:pt x="916349" y="716282"/>
                      <a:pt x="924919" y="707700"/>
                    </a:cubicBezTo>
                    <a:cubicBezTo>
                      <a:pt x="929919" y="702694"/>
                      <a:pt x="934919" y="697688"/>
                      <a:pt x="939918" y="691967"/>
                    </a:cubicBezTo>
                    <a:cubicBezTo>
                      <a:pt x="939918" y="691967"/>
                      <a:pt x="939918" y="691967"/>
                      <a:pt x="976344" y="651204"/>
                    </a:cubicBezTo>
                    <a:cubicBezTo>
                      <a:pt x="976344" y="651204"/>
                      <a:pt x="976344" y="651204"/>
                      <a:pt x="977058" y="650488"/>
                    </a:cubicBezTo>
                    <a:cubicBezTo>
                      <a:pt x="977058" y="650488"/>
                      <a:pt x="977058" y="650488"/>
                      <a:pt x="988485" y="636901"/>
                    </a:cubicBezTo>
                    <a:cubicBezTo>
                      <a:pt x="992056" y="633325"/>
                      <a:pt x="995628" y="630464"/>
                      <a:pt x="999199" y="627604"/>
                    </a:cubicBezTo>
                    <a:cubicBezTo>
                      <a:pt x="1004912" y="623313"/>
                      <a:pt x="1010626" y="620452"/>
                      <a:pt x="1017054" y="618307"/>
                    </a:cubicBezTo>
                    <a:cubicBezTo>
                      <a:pt x="1024911" y="614731"/>
                      <a:pt x="1032767" y="613301"/>
                      <a:pt x="1041338" y="613301"/>
                    </a:cubicBezTo>
                    <a:cubicBezTo>
                      <a:pt x="1057765" y="613301"/>
                      <a:pt x="1074906" y="619737"/>
                      <a:pt x="1088477" y="631895"/>
                    </a:cubicBezTo>
                    <a:cubicBezTo>
                      <a:pt x="1116331" y="656925"/>
                      <a:pt x="1119188" y="700549"/>
                      <a:pt x="1094905" y="729155"/>
                    </a:cubicBezTo>
                    <a:cubicBezTo>
                      <a:pt x="1094905" y="729155"/>
                      <a:pt x="1094905" y="729155"/>
                      <a:pt x="1047766" y="784221"/>
                    </a:cubicBezTo>
                    <a:cubicBezTo>
                      <a:pt x="987771" y="855021"/>
                      <a:pt x="909207" y="907942"/>
                      <a:pt x="820643" y="935118"/>
                    </a:cubicBezTo>
                    <a:cubicBezTo>
                      <a:pt x="820643" y="935118"/>
                      <a:pt x="820643" y="935118"/>
                      <a:pt x="807787" y="939409"/>
                    </a:cubicBezTo>
                    <a:cubicBezTo>
                      <a:pt x="740650" y="960148"/>
                      <a:pt x="671370" y="970875"/>
                      <a:pt x="601376" y="970875"/>
                    </a:cubicBezTo>
                    <a:cubicBezTo>
                      <a:pt x="584949" y="970875"/>
                      <a:pt x="568522" y="970160"/>
                      <a:pt x="552095" y="968730"/>
                    </a:cubicBezTo>
                    <a:cubicBezTo>
                      <a:pt x="552095" y="968730"/>
                      <a:pt x="552095" y="968730"/>
                      <a:pt x="431391" y="960148"/>
                    </a:cubicBezTo>
                    <a:cubicBezTo>
                      <a:pt x="427106" y="960148"/>
                      <a:pt x="422106" y="959433"/>
                      <a:pt x="417107" y="959433"/>
                    </a:cubicBezTo>
                    <a:cubicBezTo>
                      <a:pt x="392109" y="959433"/>
                      <a:pt x="367111" y="964439"/>
                      <a:pt x="343542" y="973736"/>
                    </a:cubicBezTo>
                    <a:cubicBezTo>
                      <a:pt x="343542" y="973736"/>
                      <a:pt x="343542" y="973736"/>
                      <a:pt x="21427" y="1098172"/>
                    </a:cubicBezTo>
                    <a:cubicBezTo>
                      <a:pt x="19999" y="1098887"/>
                      <a:pt x="17856" y="1099602"/>
                      <a:pt x="15713" y="1099602"/>
                    </a:cubicBezTo>
                    <a:cubicBezTo>
                      <a:pt x="7142" y="1099602"/>
                      <a:pt x="0" y="1092451"/>
                      <a:pt x="0" y="1083154"/>
                    </a:cubicBezTo>
                    <a:cubicBezTo>
                      <a:pt x="0" y="1083154"/>
                      <a:pt x="0" y="1083154"/>
                      <a:pt x="0" y="793518"/>
                    </a:cubicBezTo>
                    <a:cubicBezTo>
                      <a:pt x="0" y="787797"/>
                      <a:pt x="2857" y="782076"/>
                      <a:pt x="7857" y="779930"/>
                    </a:cubicBezTo>
                    <a:cubicBezTo>
                      <a:pt x="7857" y="779930"/>
                      <a:pt x="7857" y="779930"/>
                      <a:pt x="307116" y="609010"/>
                    </a:cubicBezTo>
                    <a:cubicBezTo>
                      <a:pt x="324258" y="598998"/>
                      <a:pt x="343542" y="592561"/>
                      <a:pt x="362826" y="588986"/>
                    </a:cubicBezTo>
                    <a:cubicBezTo>
                      <a:pt x="367825" y="588270"/>
                      <a:pt x="372825" y="587555"/>
                      <a:pt x="378539" y="586840"/>
                    </a:cubicBezTo>
                    <a:close/>
                    <a:moveTo>
                      <a:pt x="636066" y="179"/>
                    </a:moveTo>
                    <a:cubicBezTo>
                      <a:pt x="636066" y="179"/>
                      <a:pt x="636066" y="179"/>
                      <a:pt x="745933" y="179"/>
                    </a:cubicBezTo>
                    <a:cubicBezTo>
                      <a:pt x="750214" y="-535"/>
                      <a:pt x="771617" y="179"/>
                      <a:pt x="782318" y="15891"/>
                    </a:cubicBezTo>
                    <a:cubicBezTo>
                      <a:pt x="785172" y="20890"/>
                      <a:pt x="786599" y="26604"/>
                      <a:pt x="786599" y="32317"/>
                    </a:cubicBezTo>
                    <a:cubicBezTo>
                      <a:pt x="860081" y="65170"/>
                      <a:pt x="857228" y="83025"/>
                      <a:pt x="855801" y="90881"/>
                    </a:cubicBezTo>
                    <a:cubicBezTo>
                      <a:pt x="853661" y="103736"/>
                      <a:pt x="831544" y="130161"/>
                      <a:pt x="789452" y="169441"/>
                    </a:cubicBezTo>
                    <a:cubicBezTo>
                      <a:pt x="789452" y="169441"/>
                      <a:pt x="789452" y="169441"/>
                      <a:pt x="788739" y="170155"/>
                    </a:cubicBezTo>
                    <a:cubicBezTo>
                      <a:pt x="786599" y="172298"/>
                      <a:pt x="781605" y="178011"/>
                      <a:pt x="782318" y="181582"/>
                    </a:cubicBezTo>
                    <a:cubicBezTo>
                      <a:pt x="782318" y="183010"/>
                      <a:pt x="783745" y="185153"/>
                      <a:pt x="785885" y="187296"/>
                    </a:cubicBezTo>
                    <a:cubicBezTo>
                      <a:pt x="788739" y="189438"/>
                      <a:pt x="1018462" y="389410"/>
                      <a:pt x="1018462" y="572241"/>
                    </a:cubicBezTo>
                    <a:cubicBezTo>
                      <a:pt x="1019175" y="573670"/>
                      <a:pt x="1019175" y="577955"/>
                      <a:pt x="1019175" y="584382"/>
                    </a:cubicBezTo>
                    <a:cubicBezTo>
                      <a:pt x="1013468" y="585811"/>
                      <a:pt x="1008474" y="587239"/>
                      <a:pt x="1003480" y="589382"/>
                    </a:cubicBezTo>
                    <a:cubicBezTo>
                      <a:pt x="997772" y="591524"/>
                      <a:pt x="992065" y="594381"/>
                      <a:pt x="987071" y="597952"/>
                    </a:cubicBezTo>
                    <a:cubicBezTo>
                      <a:pt x="988498" y="583668"/>
                      <a:pt x="987784" y="574384"/>
                      <a:pt x="987784" y="574384"/>
                    </a:cubicBezTo>
                    <a:cubicBezTo>
                      <a:pt x="987784" y="574384"/>
                      <a:pt x="987784" y="574384"/>
                      <a:pt x="987071" y="572955"/>
                    </a:cubicBezTo>
                    <a:cubicBezTo>
                      <a:pt x="987071" y="426547"/>
                      <a:pt x="812995" y="250858"/>
                      <a:pt x="765909" y="211578"/>
                    </a:cubicBezTo>
                    <a:cubicBezTo>
                      <a:pt x="753781" y="200865"/>
                      <a:pt x="750927" y="189438"/>
                      <a:pt x="750927" y="181582"/>
                    </a:cubicBezTo>
                    <a:cubicBezTo>
                      <a:pt x="750214" y="163013"/>
                      <a:pt x="765196" y="148730"/>
                      <a:pt x="768049" y="146587"/>
                    </a:cubicBezTo>
                    <a:cubicBezTo>
                      <a:pt x="789452" y="125876"/>
                      <a:pt x="814422" y="100165"/>
                      <a:pt x="822983" y="88738"/>
                    </a:cubicBezTo>
                    <a:cubicBezTo>
                      <a:pt x="815136" y="82310"/>
                      <a:pt x="796586" y="71598"/>
                      <a:pt x="776611" y="63027"/>
                    </a:cubicBezTo>
                    <a:cubicBezTo>
                      <a:pt x="759488" y="95880"/>
                      <a:pt x="750927" y="115163"/>
                      <a:pt x="750927" y="115163"/>
                    </a:cubicBezTo>
                    <a:cubicBezTo>
                      <a:pt x="748074" y="120876"/>
                      <a:pt x="742366" y="124447"/>
                      <a:pt x="736659" y="124447"/>
                    </a:cubicBezTo>
                    <a:cubicBezTo>
                      <a:pt x="734518" y="124447"/>
                      <a:pt x="732378" y="123733"/>
                      <a:pt x="730238" y="123019"/>
                    </a:cubicBezTo>
                    <a:cubicBezTo>
                      <a:pt x="724531" y="120162"/>
                      <a:pt x="720963" y="114449"/>
                      <a:pt x="720963" y="108735"/>
                    </a:cubicBezTo>
                    <a:cubicBezTo>
                      <a:pt x="720963" y="106593"/>
                      <a:pt x="721677" y="104450"/>
                      <a:pt x="722390" y="102308"/>
                    </a:cubicBezTo>
                    <a:cubicBezTo>
                      <a:pt x="722390" y="101593"/>
                      <a:pt x="731665" y="80882"/>
                      <a:pt x="750214" y="46601"/>
                    </a:cubicBezTo>
                    <a:cubicBezTo>
                      <a:pt x="750927" y="45173"/>
                      <a:pt x="750927" y="44459"/>
                      <a:pt x="751641" y="43030"/>
                    </a:cubicBezTo>
                    <a:cubicBezTo>
                      <a:pt x="755208" y="37317"/>
                      <a:pt x="755208" y="33746"/>
                      <a:pt x="755208" y="33032"/>
                    </a:cubicBezTo>
                    <a:cubicBezTo>
                      <a:pt x="753781" y="32317"/>
                      <a:pt x="749500" y="31603"/>
                      <a:pt x="746647" y="31603"/>
                    </a:cubicBezTo>
                    <a:cubicBezTo>
                      <a:pt x="746647" y="31603"/>
                      <a:pt x="746647" y="31603"/>
                      <a:pt x="745933" y="31603"/>
                    </a:cubicBezTo>
                    <a:cubicBezTo>
                      <a:pt x="745933" y="31603"/>
                      <a:pt x="745933" y="31603"/>
                      <a:pt x="636066" y="31603"/>
                    </a:cubicBezTo>
                    <a:cubicBezTo>
                      <a:pt x="635352" y="31603"/>
                      <a:pt x="635352" y="31603"/>
                      <a:pt x="634639" y="31603"/>
                    </a:cubicBezTo>
                    <a:cubicBezTo>
                      <a:pt x="632499" y="31603"/>
                      <a:pt x="628218" y="32317"/>
                      <a:pt x="626791" y="33032"/>
                    </a:cubicBezTo>
                    <a:cubicBezTo>
                      <a:pt x="626791" y="33746"/>
                      <a:pt x="626791" y="37317"/>
                      <a:pt x="630358" y="43030"/>
                    </a:cubicBezTo>
                    <a:cubicBezTo>
                      <a:pt x="631072" y="44459"/>
                      <a:pt x="631072" y="45173"/>
                      <a:pt x="631785" y="46601"/>
                    </a:cubicBezTo>
                    <a:cubicBezTo>
                      <a:pt x="650334" y="80882"/>
                      <a:pt x="659609" y="101593"/>
                      <a:pt x="659609" y="102308"/>
                    </a:cubicBezTo>
                    <a:cubicBezTo>
                      <a:pt x="660322" y="104450"/>
                      <a:pt x="661036" y="106593"/>
                      <a:pt x="661036" y="108735"/>
                    </a:cubicBezTo>
                    <a:cubicBezTo>
                      <a:pt x="661036" y="114449"/>
                      <a:pt x="657469" y="120162"/>
                      <a:pt x="651761" y="123019"/>
                    </a:cubicBezTo>
                    <a:cubicBezTo>
                      <a:pt x="643913" y="126590"/>
                      <a:pt x="634639" y="123019"/>
                      <a:pt x="631072" y="115163"/>
                    </a:cubicBezTo>
                    <a:cubicBezTo>
                      <a:pt x="631072" y="115163"/>
                      <a:pt x="622511" y="95880"/>
                      <a:pt x="605388" y="63027"/>
                    </a:cubicBezTo>
                    <a:cubicBezTo>
                      <a:pt x="585413" y="71598"/>
                      <a:pt x="566863" y="82310"/>
                      <a:pt x="559016" y="88738"/>
                    </a:cubicBezTo>
                    <a:cubicBezTo>
                      <a:pt x="567577" y="100165"/>
                      <a:pt x="592547" y="125876"/>
                      <a:pt x="613950" y="146587"/>
                    </a:cubicBezTo>
                    <a:cubicBezTo>
                      <a:pt x="616803" y="148730"/>
                      <a:pt x="631785" y="163013"/>
                      <a:pt x="631072" y="181582"/>
                    </a:cubicBezTo>
                    <a:cubicBezTo>
                      <a:pt x="631072" y="189438"/>
                      <a:pt x="628218" y="200865"/>
                      <a:pt x="616090" y="211578"/>
                    </a:cubicBezTo>
                    <a:cubicBezTo>
                      <a:pt x="571144" y="249430"/>
                      <a:pt x="408483" y="412264"/>
                      <a:pt x="395641" y="555101"/>
                    </a:cubicBezTo>
                    <a:cubicBezTo>
                      <a:pt x="394928" y="555101"/>
                      <a:pt x="394215" y="555101"/>
                      <a:pt x="393501" y="555101"/>
                    </a:cubicBezTo>
                    <a:cubicBezTo>
                      <a:pt x="388507" y="555101"/>
                      <a:pt x="384227" y="555101"/>
                      <a:pt x="379946" y="555815"/>
                    </a:cubicBezTo>
                    <a:cubicBezTo>
                      <a:pt x="374239" y="555815"/>
                      <a:pt x="369245" y="556529"/>
                      <a:pt x="363537" y="557243"/>
                    </a:cubicBezTo>
                    <a:cubicBezTo>
                      <a:pt x="376379" y="378697"/>
                      <a:pt x="593974" y="189438"/>
                      <a:pt x="596114" y="187296"/>
                    </a:cubicBezTo>
                    <a:cubicBezTo>
                      <a:pt x="598254" y="185153"/>
                      <a:pt x="599681" y="183010"/>
                      <a:pt x="599681" y="181582"/>
                    </a:cubicBezTo>
                    <a:cubicBezTo>
                      <a:pt x="599681" y="177297"/>
                      <a:pt x="595401" y="171583"/>
                      <a:pt x="593260" y="170155"/>
                    </a:cubicBezTo>
                    <a:cubicBezTo>
                      <a:pt x="593260" y="170155"/>
                      <a:pt x="593260" y="170155"/>
                      <a:pt x="592547" y="169441"/>
                    </a:cubicBezTo>
                    <a:cubicBezTo>
                      <a:pt x="550455" y="130161"/>
                      <a:pt x="528339" y="103736"/>
                      <a:pt x="526198" y="90881"/>
                    </a:cubicBezTo>
                    <a:cubicBezTo>
                      <a:pt x="524771" y="83025"/>
                      <a:pt x="521918" y="65170"/>
                      <a:pt x="595401" y="32317"/>
                    </a:cubicBezTo>
                    <a:cubicBezTo>
                      <a:pt x="595401" y="26604"/>
                      <a:pt x="596827" y="20890"/>
                      <a:pt x="599681" y="15891"/>
                    </a:cubicBezTo>
                    <a:cubicBezTo>
                      <a:pt x="610382" y="179"/>
                      <a:pt x="631785" y="-535"/>
                      <a:pt x="636066" y="179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5311989" y="3091225"/>
            <a:ext cx="686946" cy="687584"/>
            <a:chOff x="5273801" y="2606040"/>
            <a:chExt cx="1644396" cy="1645920"/>
          </a:xfrm>
        </p:grpSpPr>
        <p:sp>
          <p:nvSpPr>
            <p:cNvPr id="64" name="AutoShape 23">
              <a:extLst>
                <a:ext uri="{FF2B5EF4-FFF2-40B4-BE49-F238E27FC236}">
                  <a16:creationId xmlns:a16="http://schemas.microsoft.com/office/drawing/2014/main" xmlns="" id="{21145B1E-CDCB-4DD6-B1E9-AD669D7521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xmlns="" id="{9F947C49-F917-4AD1-B35C-097F99CCE4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610 w 1616"/>
                  <a:gd name="T1" fmla="*/ 362 h 916"/>
                  <a:gd name="T2" fmla="*/ 1552 w 1616"/>
                  <a:gd name="T3" fmla="*/ 327 h 916"/>
                  <a:gd name="T4" fmla="*/ 1530 w 1616"/>
                  <a:gd name="T5" fmla="*/ 261 h 916"/>
                  <a:gd name="T6" fmla="*/ 1495 w 1616"/>
                  <a:gd name="T7" fmla="*/ 196 h 916"/>
                  <a:gd name="T8" fmla="*/ 1508 w 1616"/>
                  <a:gd name="T9" fmla="*/ 130 h 916"/>
                  <a:gd name="T10" fmla="*/ 1369 w 1616"/>
                  <a:gd name="T11" fmla="*/ 28 h 916"/>
                  <a:gd name="T12" fmla="*/ 1309 w 1616"/>
                  <a:gd name="T13" fmla="*/ 62 h 916"/>
                  <a:gd name="T14" fmla="*/ 1178 w 1616"/>
                  <a:gd name="T15" fmla="*/ 47 h 916"/>
                  <a:gd name="T16" fmla="*/ 1127 w 1616"/>
                  <a:gd name="T17" fmla="*/ 0 h 916"/>
                  <a:gd name="T18" fmla="*/ 1043 w 1616"/>
                  <a:gd name="T19" fmla="*/ 26 h 916"/>
                  <a:gd name="T20" fmla="*/ 967 w 1616"/>
                  <a:gd name="T21" fmla="*/ 69 h 916"/>
                  <a:gd name="T22" fmla="*/ 967 w 1616"/>
                  <a:gd name="T23" fmla="*/ 140 h 916"/>
                  <a:gd name="T24" fmla="*/ 886 w 1616"/>
                  <a:gd name="T25" fmla="*/ 246 h 916"/>
                  <a:gd name="T26" fmla="*/ 821 w 1616"/>
                  <a:gd name="T27" fmla="*/ 267 h 916"/>
                  <a:gd name="T28" fmla="*/ 798 w 1616"/>
                  <a:gd name="T29" fmla="*/ 441 h 916"/>
                  <a:gd name="T30" fmla="*/ 856 w 1616"/>
                  <a:gd name="T31" fmla="*/ 475 h 916"/>
                  <a:gd name="T32" fmla="*/ 879 w 1616"/>
                  <a:gd name="T33" fmla="*/ 546 h 916"/>
                  <a:gd name="T34" fmla="*/ 912 w 1616"/>
                  <a:gd name="T35" fmla="*/ 607 h 916"/>
                  <a:gd name="T36" fmla="*/ 896 w 1616"/>
                  <a:gd name="T37" fmla="*/ 673 h 916"/>
                  <a:gd name="T38" fmla="*/ 1031 w 1616"/>
                  <a:gd name="T39" fmla="*/ 777 h 916"/>
                  <a:gd name="T40" fmla="*/ 1089 w 1616"/>
                  <a:gd name="T41" fmla="*/ 743 h 916"/>
                  <a:gd name="T42" fmla="*/ 1236 w 1616"/>
                  <a:gd name="T43" fmla="*/ 762 h 916"/>
                  <a:gd name="T44" fmla="*/ 1287 w 1616"/>
                  <a:gd name="T45" fmla="*/ 808 h 916"/>
                  <a:gd name="T46" fmla="*/ 1366 w 1616"/>
                  <a:gd name="T47" fmla="*/ 783 h 916"/>
                  <a:gd name="T48" fmla="*/ 1440 w 1616"/>
                  <a:gd name="T49" fmla="*/ 741 h 916"/>
                  <a:gd name="T50" fmla="*/ 1440 w 1616"/>
                  <a:gd name="T51" fmla="*/ 673 h 916"/>
                  <a:gd name="T52" fmla="*/ 1528 w 1616"/>
                  <a:gd name="T53" fmla="*/ 552 h 916"/>
                  <a:gd name="T54" fmla="*/ 1591 w 1616"/>
                  <a:gd name="T55" fmla="*/ 532 h 916"/>
                  <a:gd name="T56" fmla="*/ 1610 w 1616"/>
                  <a:gd name="T57" fmla="*/ 362 h 916"/>
                  <a:gd name="T58" fmla="*/ 1276 w 1616"/>
                  <a:gd name="T59" fmla="*/ 569 h 916"/>
                  <a:gd name="T60" fmla="*/ 1041 w 1616"/>
                  <a:gd name="T61" fmla="*/ 475 h 916"/>
                  <a:gd name="T62" fmla="*/ 1133 w 1616"/>
                  <a:gd name="T63" fmla="*/ 239 h 916"/>
                  <a:gd name="T64" fmla="*/ 1367 w 1616"/>
                  <a:gd name="T65" fmla="*/ 333 h 916"/>
                  <a:gd name="T66" fmla="*/ 1276 w 1616"/>
                  <a:gd name="T67" fmla="*/ 569 h 916"/>
                  <a:gd name="T68" fmla="*/ 187 w 1616"/>
                  <a:gd name="T69" fmla="*/ 916 h 916"/>
                  <a:gd name="T70" fmla="*/ 0 w 1616"/>
                  <a:gd name="T71" fmla="*/ 729 h 916"/>
                  <a:gd name="T72" fmla="*/ 187 w 1616"/>
                  <a:gd name="T73" fmla="*/ 541 h 916"/>
                  <a:gd name="T74" fmla="*/ 375 w 1616"/>
                  <a:gd name="T75" fmla="*/ 729 h 916"/>
                  <a:gd name="T76" fmla="*/ 187 w 1616"/>
                  <a:gd name="T77" fmla="*/ 916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xmlns="" id="{E2588303-321C-498F-B014-B990AEEA72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638 w 1362"/>
                  <a:gd name="T1" fmla="*/ 1242 h 1348"/>
                  <a:gd name="T2" fmla="*/ 448 w 1362"/>
                  <a:gd name="T3" fmla="*/ 1319 h 1348"/>
                  <a:gd name="T4" fmla="*/ 352 w 1362"/>
                  <a:gd name="T5" fmla="*/ 1146 h 1348"/>
                  <a:gd name="T6" fmla="*/ 141 w 1362"/>
                  <a:gd name="T7" fmla="*/ 1095 h 1348"/>
                  <a:gd name="T8" fmla="*/ 46 w 1362"/>
                  <a:gd name="T9" fmla="*/ 928 h 1348"/>
                  <a:gd name="T10" fmla="*/ 0 w 1362"/>
                  <a:gd name="T11" fmla="*/ 664 h 1348"/>
                  <a:gd name="T12" fmla="*/ 32 w 1362"/>
                  <a:gd name="T13" fmla="*/ 474 h 1348"/>
                  <a:gd name="T14" fmla="*/ 212 w 1362"/>
                  <a:gd name="T15" fmla="*/ 351 h 1348"/>
                  <a:gd name="T16" fmla="*/ 244 w 1362"/>
                  <a:gd name="T17" fmla="*/ 159 h 1348"/>
                  <a:gd name="T18" fmla="*/ 451 w 1362"/>
                  <a:gd name="T19" fmla="*/ 167 h 1348"/>
                  <a:gd name="T20" fmla="*/ 592 w 1362"/>
                  <a:gd name="T21" fmla="*/ 5 h 1348"/>
                  <a:gd name="T22" fmla="*/ 784 w 1362"/>
                  <a:gd name="T23" fmla="*/ 6 h 1348"/>
                  <a:gd name="T24" fmla="*/ 1036 w 1362"/>
                  <a:gd name="T25" fmla="*/ 98 h 1348"/>
                  <a:gd name="T26" fmla="*/ 1184 w 1362"/>
                  <a:gd name="T27" fmla="*/ 220 h 1348"/>
                  <a:gd name="T28" fmla="*/ 1206 w 1362"/>
                  <a:gd name="T29" fmla="*/ 440 h 1348"/>
                  <a:gd name="T30" fmla="*/ 1351 w 1362"/>
                  <a:gd name="T31" fmla="*/ 562 h 1348"/>
                  <a:gd name="T32" fmla="*/ 1262 w 1362"/>
                  <a:gd name="T33" fmla="*/ 724 h 1348"/>
                  <a:gd name="T34" fmla="*/ 1310 w 1362"/>
                  <a:gd name="T35" fmla="*/ 940 h 1348"/>
                  <a:gd name="T36" fmla="*/ 1213 w 1362"/>
                  <a:gd name="T37" fmla="*/ 1106 h 1348"/>
                  <a:gd name="T38" fmla="*/ 1008 w 1362"/>
                  <a:gd name="T39" fmla="*/ 1278 h 1348"/>
                  <a:gd name="T40" fmla="*/ 828 w 1362"/>
                  <a:gd name="T41" fmla="*/ 1345 h 1348"/>
                  <a:gd name="T42" fmla="*/ 830 w 1362"/>
                  <a:gd name="T43" fmla="*/ 1299 h 1348"/>
                  <a:gd name="T44" fmla="*/ 965 w 1362"/>
                  <a:gd name="T45" fmla="*/ 1122 h 1348"/>
                  <a:gd name="T46" fmla="*/ 1072 w 1362"/>
                  <a:gd name="T47" fmla="*/ 1038 h 1348"/>
                  <a:gd name="T48" fmla="*/ 1264 w 1362"/>
                  <a:gd name="T49" fmla="*/ 935 h 1348"/>
                  <a:gd name="T50" fmla="*/ 1219 w 1362"/>
                  <a:gd name="T51" fmla="*/ 710 h 1348"/>
                  <a:gd name="T52" fmla="*/ 1308 w 1362"/>
                  <a:gd name="T53" fmla="*/ 570 h 1348"/>
                  <a:gd name="T54" fmla="*/ 1171 w 1362"/>
                  <a:gd name="T55" fmla="*/ 469 h 1348"/>
                  <a:gd name="T56" fmla="*/ 1142 w 1362"/>
                  <a:gd name="T57" fmla="*/ 241 h 1348"/>
                  <a:gd name="T58" fmla="*/ 915 w 1362"/>
                  <a:gd name="T59" fmla="*/ 217 h 1348"/>
                  <a:gd name="T60" fmla="*/ 802 w 1362"/>
                  <a:gd name="T61" fmla="*/ 179 h 1348"/>
                  <a:gd name="T62" fmla="*/ 610 w 1362"/>
                  <a:gd name="T63" fmla="*/ 47 h 1348"/>
                  <a:gd name="T64" fmla="*/ 458 w 1362"/>
                  <a:gd name="T65" fmla="*/ 212 h 1348"/>
                  <a:gd name="T66" fmla="*/ 272 w 1362"/>
                  <a:gd name="T67" fmla="*/ 192 h 1348"/>
                  <a:gd name="T68" fmla="*/ 254 w 1362"/>
                  <a:gd name="T69" fmla="*/ 369 h 1348"/>
                  <a:gd name="T70" fmla="*/ 70 w 1362"/>
                  <a:gd name="T71" fmla="*/ 500 h 1348"/>
                  <a:gd name="T72" fmla="*/ 143 w 1362"/>
                  <a:gd name="T73" fmla="*/ 698 h 1348"/>
                  <a:gd name="T74" fmla="*/ 170 w 1362"/>
                  <a:gd name="T75" fmla="*/ 846 h 1348"/>
                  <a:gd name="T76" fmla="*/ 168 w 1362"/>
                  <a:gd name="T77" fmla="*/ 1058 h 1348"/>
                  <a:gd name="T78" fmla="*/ 386 w 1362"/>
                  <a:gd name="T79" fmla="*/ 1115 h 1348"/>
                  <a:gd name="T80" fmla="*/ 463 w 1362"/>
                  <a:gd name="T81" fmla="*/ 1278 h 1348"/>
                  <a:gd name="T82" fmla="*/ 630 w 1362"/>
                  <a:gd name="T83" fmla="*/ 1198 h 1348"/>
                  <a:gd name="T84" fmla="*/ 742 w 1362"/>
                  <a:gd name="T85" fmla="*/ 1197 h 1348"/>
                  <a:gd name="T86" fmla="*/ 681 w 1362"/>
                  <a:gd name="T87" fmla="*/ 257 h 1348"/>
                  <a:gd name="T88" fmla="*/ 681 w 1362"/>
                  <a:gd name="T89" fmla="*/ 301 h 1348"/>
                  <a:gd name="T90" fmla="*/ 1063 w 1362"/>
                  <a:gd name="T91" fmla="*/ 683 h 1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68" name="bcgIcons_AbstractionInHiddenLayers">
            <a:extLst>
              <a:ext uri="{FF2B5EF4-FFF2-40B4-BE49-F238E27FC236}">
                <a16:creationId xmlns:a16="http://schemas.microsoft.com/office/drawing/2014/main" xmlns="" id="{BB793821-A494-4E08-A522-973515524D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91643" y="4209168"/>
            <a:ext cx="686946" cy="687584"/>
            <a:chOff x="1682" y="0"/>
            <a:chExt cx="4316" cy="4320"/>
          </a:xfrm>
        </p:grpSpPr>
        <p:sp>
          <p:nvSpPr>
            <p:cNvPr id="69" name="AutoShape 30">
              <a:extLst>
                <a:ext uri="{FF2B5EF4-FFF2-40B4-BE49-F238E27FC236}">
                  <a16:creationId xmlns:a16="http://schemas.microsoft.com/office/drawing/2014/main" xmlns="" id="{6DA96174-ED01-482E-87E4-4374F4DA75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70" name="Freeform 32">
              <a:extLst>
                <a:ext uri="{FF2B5EF4-FFF2-40B4-BE49-F238E27FC236}">
                  <a16:creationId xmlns:a16="http://schemas.microsoft.com/office/drawing/2014/main" xmlns="" id="{8B7C127B-D0BD-4D31-97F7-26B9D2574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1" y="1136"/>
              <a:ext cx="2145" cy="2044"/>
            </a:xfrm>
            <a:custGeom>
              <a:avLst/>
              <a:gdLst>
                <a:gd name="T0" fmla="*/ 559 w 1145"/>
                <a:gd name="T1" fmla="*/ 1052 h 1090"/>
                <a:gd name="T2" fmla="*/ 559 w 1145"/>
                <a:gd name="T3" fmla="*/ 1084 h 1090"/>
                <a:gd name="T4" fmla="*/ 544 w 1145"/>
                <a:gd name="T5" fmla="*/ 1090 h 1090"/>
                <a:gd name="T6" fmla="*/ 528 w 1145"/>
                <a:gd name="T7" fmla="*/ 1084 h 1090"/>
                <a:gd name="T8" fmla="*/ 6 w 1145"/>
                <a:gd name="T9" fmla="*/ 562 h 1090"/>
                <a:gd name="T10" fmla="*/ 0 w 1145"/>
                <a:gd name="T11" fmla="*/ 546 h 1090"/>
                <a:gd name="T12" fmla="*/ 6 w 1145"/>
                <a:gd name="T13" fmla="*/ 530 h 1090"/>
                <a:gd name="T14" fmla="*/ 528 w 1145"/>
                <a:gd name="T15" fmla="*/ 8 h 1090"/>
                <a:gd name="T16" fmla="*/ 559 w 1145"/>
                <a:gd name="T17" fmla="*/ 8 h 1090"/>
                <a:gd name="T18" fmla="*/ 639 w 1145"/>
                <a:gd name="T19" fmla="*/ 88 h 1090"/>
                <a:gd name="T20" fmla="*/ 608 w 1145"/>
                <a:gd name="T21" fmla="*/ 119 h 1090"/>
                <a:gd name="T22" fmla="*/ 544 w 1145"/>
                <a:gd name="T23" fmla="*/ 55 h 1090"/>
                <a:gd name="T24" fmla="*/ 53 w 1145"/>
                <a:gd name="T25" fmla="*/ 546 h 1090"/>
                <a:gd name="T26" fmla="*/ 559 w 1145"/>
                <a:gd name="T27" fmla="*/ 1052 h 1090"/>
                <a:gd name="T28" fmla="*/ 306 w 1145"/>
                <a:gd name="T29" fmla="*/ 546 h 1090"/>
                <a:gd name="T30" fmla="*/ 797 w 1145"/>
                <a:gd name="T31" fmla="*/ 55 h 1090"/>
                <a:gd name="T32" fmla="*/ 861 w 1145"/>
                <a:gd name="T33" fmla="*/ 119 h 1090"/>
                <a:gd name="T34" fmla="*/ 892 w 1145"/>
                <a:gd name="T35" fmla="*/ 88 h 1090"/>
                <a:gd name="T36" fmla="*/ 812 w 1145"/>
                <a:gd name="T37" fmla="*/ 8 h 1090"/>
                <a:gd name="T38" fmla="*/ 781 w 1145"/>
                <a:gd name="T39" fmla="*/ 8 h 1090"/>
                <a:gd name="T40" fmla="*/ 259 w 1145"/>
                <a:gd name="T41" fmla="*/ 530 h 1090"/>
                <a:gd name="T42" fmla="*/ 259 w 1145"/>
                <a:gd name="T43" fmla="*/ 562 h 1090"/>
                <a:gd name="T44" fmla="*/ 781 w 1145"/>
                <a:gd name="T45" fmla="*/ 1084 h 1090"/>
                <a:gd name="T46" fmla="*/ 797 w 1145"/>
                <a:gd name="T47" fmla="*/ 1090 h 1090"/>
                <a:gd name="T48" fmla="*/ 812 w 1145"/>
                <a:gd name="T49" fmla="*/ 1084 h 1090"/>
                <a:gd name="T50" fmla="*/ 812 w 1145"/>
                <a:gd name="T51" fmla="*/ 1052 h 1090"/>
                <a:gd name="T52" fmla="*/ 306 w 1145"/>
                <a:gd name="T53" fmla="*/ 546 h 1090"/>
                <a:gd name="T54" fmla="*/ 559 w 1145"/>
                <a:gd name="T55" fmla="*/ 546 h 1090"/>
                <a:gd name="T56" fmla="*/ 1049 w 1145"/>
                <a:gd name="T57" fmla="*/ 55 h 1090"/>
                <a:gd name="T58" fmla="*/ 1114 w 1145"/>
                <a:gd name="T59" fmla="*/ 119 h 1090"/>
                <a:gd name="T60" fmla="*/ 1145 w 1145"/>
                <a:gd name="T61" fmla="*/ 88 h 1090"/>
                <a:gd name="T62" fmla="*/ 1065 w 1145"/>
                <a:gd name="T63" fmla="*/ 8 h 1090"/>
                <a:gd name="T64" fmla="*/ 1034 w 1145"/>
                <a:gd name="T65" fmla="*/ 8 h 1090"/>
                <a:gd name="T66" fmla="*/ 512 w 1145"/>
                <a:gd name="T67" fmla="*/ 530 h 1090"/>
                <a:gd name="T68" fmla="*/ 505 w 1145"/>
                <a:gd name="T69" fmla="*/ 546 h 1090"/>
                <a:gd name="T70" fmla="*/ 512 w 1145"/>
                <a:gd name="T71" fmla="*/ 562 h 1090"/>
                <a:gd name="T72" fmla="*/ 1034 w 1145"/>
                <a:gd name="T73" fmla="*/ 1084 h 1090"/>
                <a:gd name="T74" fmla="*/ 1049 w 1145"/>
                <a:gd name="T75" fmla="*/ 1090 h 1090"/>
                <a:gd name="T76" fmla="*/ 1065 w 1145"/>
                <a:gd name="T77" fmla="*/ 1084 h 1090"/>
                <a:gd name="T78" fmla="*/ 1065 w 1145"/>
                <a:gd name="T79" fmla="*/ 1052 h 1090"/>
                <a:gd name="T80" fmla="*/ 559 w 1145"/>
                <a:gd name="T81" fmla="*/ 546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45" h="1090">
                  <a:moveTo>
                    <a:pt x="559" y="1052"/>
                  </a:moveTo>
                  <a:cubicBezTo>
                    <a:pt x="568" y="1061"/>
                    <a:pt x="568" y="1075"/>
                    <a:pt x="559" y="1084"/>
                  </a:cubicBezTo>
                  <a:cubicBezTo>
                    <a:pt x="555" y="1088"/>
                    <a:pt x="549" y="1090"/>
                    <a:pt x="544" y="1090"/>
                  </a:cubicBezTo>
                  <a:cubicBezTo>
                    <a:pt x="538" y="1090"/>
                    <a:pt x="532" y="1088"/>
                    <a:pt x="528" y="1084"/>
                  </a:cubicBezTo>
                  <a:cubicBezTo>
                    <a:pt x="6" y="562"/>
                    <a:pt x="6" y="562"/>
                    <a:pt x="6" y="562"/>
                  </a:cubicBezTo>
                  <a:cubicBezTo>
                    <a:pt x="2" y="557"/>
                    <a:pt x="0" y="552"/>
                    <a:pt x="0" y="546"/>
                  </a:cubicBezTo>
                  <a:cubicBezTo>
                    <a:pt x="0" y="540"/>
                    <a:pt x="2" y="535"/>
                    <a:pt x="6" y="530"/>
                  </a:cubicBezTo>
                  <a:cubicBezTo>
                    <a:pt x="528" y="8"/>
                    <a:pt x="528" y="8"/>
                    <a:pt x="528" y="8"/>
                  </a:cubicBezTo>
                  <a:cubicBezTo>
                    <a:pt x="537" y="0"/>
                    <a:pt x="551" y="0"/>
                    <a:pt x="559" y="8"/>
                  </a:cubicBezTo>
                  <a:cubicBezTo>
                    <a:pt x="639" y="88"/>
                    <a:pt x="639" y="88"/>
                    <a:pt x="639" y="88"/>
                  </a:cubicBezTo>
                  <a:cubicBezTo>
                    <a:pt x="608" y="119"/>
                    <a:pt x="608" y="119"/>
                    <a:pt x="608" y="119"/>
                  </a:cubicBezTo>
                  <a:cubicBezTo>
                    <a:pt x="544" y="55"/>
                    <a:pt x="544" y="55"/>
                    <a:pt x="544" y="55"/>
                  </a:cubicBezTo>
                  <a:cubicBezTo>
                    <a:pt x="53" y="546"/>
                    <a:pt x="53" y="546"/>
                    <a:pt x="53" y="546"/>
                  </a:cubicBezTo>
                  <a:lnTo>
                    <a:pt x="559" y="1052"/>
                  </a:lnTo>
                  <a:close/>
                  <a:moveTo>
                    <a:pt x="306" y="546"/>
                  </a:moveTo>
                  <a:cubicBezTo>
                    <a:pt x="797" y="55"/>
                    <a:pt x="797" y="55"/>
                    <a:pt x="797" y="55"/>
                  </a:cubicBezTo>
                  <a:cubicBezTo>
                    <a:pt x="861" y="119"/>
                    <a:pt x="861" y="119"/>
                    <a:pt x="861" y="119"/>
                  </a:cubicBezTo>
                  <a:cubicBezTo>
                    <a:pt x="892" y="88"/>
                    <a:pt x="892" y="88"/>
                    <a:pt x="892" y="88"/>
                  </a:cubicBezTo>
                  <a:cubicBezTo>
                    <a:pt x="812" y="8"/>
                    <a:pt x="812" y="8"/>
                    <a:pt x="812" y="8"/>
                  </a:cubicBezTo>
                  <a:cubicBezTo>
                    <a:pt x="804" y="0"/>
                    <a:pt x="790" y="0"/>
                    <a:pt x="781" y="8"/>
                  </a:cubicBezTo>
                  <a:cubicBezTo>
                    <a:pt x="259" y="530"/>
                    <a:pt x="259" y="530"/>
                    <a:pt x="259" y="530"/>
                  </a:cubicBezTo>
                  <a:cubicBezTo>
                    <a:pt x="250" y="539"/>
                    <a:pt x="250" y="553"/>
                    <a:pt x="259" y="562"/>
                  </a:cubicBezTo>
                  <a:cubicBezTo>
                    <a:pt x="781" y="1084"/>
                    <a:pt x="781" y="1084"/>
                    <a:pt x="781" y="1084"/>
                  </a:cubicBezTo>
                  <a:cubicBezTo>
                    <a:pt x="785" y="1088"/>
                    <a:pt x="791" y="1090"/>
                    <a:pt x="797" y="1090"/>
                  </a:cubicBezTo>
                  <a:cubicBezTo>
                    <a:pt x="802" y="1090"/>
                    <a:pt x="808" y="1088"/>
                    <a:pt x="812" y="1084"/>
                  </a:cubicBezTo>
                  <a:cubicBezTo>
                    <a:pt x="821" y="1075"/>
                    <a:pt x="821" y="1061"/>
                    <a:pt x="812" y="1052"/>
                  </a:cubicBezTo>
                  <a:lnTo>
                    <a:pt x="306" y="546"/>
                  </a:lnTo>
                  <a:close/>
                  <a:moveTo>
                    <a:pt x="559" y="546"/>
                  </a:moveTo>
                  <a:cubicBezTo>
                    <a:pt x="1049" y="55"/>
                    <a:pt x="1049" y="55"/>
                    <a:pt x="1049" y="55"/>
                  </a:cubicBezTo>
                  <a:cubicBezTo>
                    <a:pt x="1114" y="119"/>
                    <a:pt x="1114" y="119"/>
                    <a:pt x="1114" y="119"/>
                  </a:cubicBezTo>
                  <a:cubicBezTo>
                    <a:pt x="1145" y="88"/>
                    <a:pt x="1145" y="88"/>
                    <a:pt x="1145" y="88"/>
                  </a:cubicBezTo>
                  <a:cubicBezTo>
                    <a:pt x="1065" y="8"/>
                    <a:pt x="1065" y="8"/>
                    <a:pt x="1065" y="8"/>
                  </a:cubicBezTo>
                  <a:cubicBezTo>
                    <a:pt x="1056" y="0"/>
                    <a:pt x="1042" y="0"/>
                    <a:pt x="1034" y="8"/>
                  </a:cubicBezTo>
                  <a:cubicBezTo>
                    <a:pt x="512" y="530"/>
                    <a:pt x="512" y="530"/>
                    <a:pt x="512" y="530"/>
                  </a:cubicBezTo>
                  <a:cubicBezTo>
                    <a:pt x="508" y="535"/>
                    <a:pt x="505" y="540"/>
                    <a:pt x="505" y="546"/>
                  </a:cubicBezTo>
                  <a:cubicBezTo>
                    <a:pt x="505" y="552"/>
                    <a:pt x="508" y="557"/>
                    <a:pt x="512" y="562"/>
                  </a:cubicBezTo>
                  <a:cubicBezTo>
                    <a:pt x="1034" y="1084"/>
                    <a:pt x="1034" y="1084"/>
                    <a:pt x="1034" y="1084"/>
                  </a:cubicBezTo>
                  <a:cubicBezTo>
                    <a:pt x="1038" y="1088"/>
                    <a:pt x="1044" y="1090"/>
                    <a:pt x="1049" y="1090"/>
                  </a:cubicBezTo>
                  <a:cubicBezTo>
                    <a:pt x="1055" y="1090"/>
                    <a:pt x="1061" y="1088"/>
                    <a:pt x="1065" y="1084"/>
                  </a:cubicBezTo>
                  <a:cubicBezTo>
                    <a:pt x="1074" y="1075"/>
                    <a:pt x="1074" y="1061"/>
                    <a:pt x="1065" y="1052"/>
                  </a:cubicBezTo>
                  <a:lnTo>
                    <a:pt x="559" y="546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71" name="Freeform 33">
              <a:extLst>
                <a:ext uri="{FF2B5EF4-FFF2-40B4-BE49-F238E27FC236}">
                  <a16:creationId xmlns:a16="http://schemas.microsoft.com/office/drawing/2014/main" xmlns="" id="{D2C9C1F5-5C99-44C3-A065-7E199E6B9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" y="1136"/>
              <a:ext cx="2038" cy="2044"/>
            </a:xfrm>
            <a:custGeom>
              <a:avLst/>
              <a:gdLst>
                <a:gd name="T0" fmla="*/ 1082 w 1088"/>
                <a:gd name="T1" fmla="*/ 530 h 1090"/>
                <a:gd name="T2" fmla="*/ 560 w 1088"/>
                <a:gd name="T3" fmla="*/ 8 h 1090"/>
                <a:gd name="T4" fmla="*/ 529 w 1088"/>
                <a:gd name="T5" fmla="*/ 8 h 1090"/>
                <a:gd name="T6" fmla="*/ 7 w 1088"/>
                <a:gd name="T7" fmla="*/ 530 h 1090"/>
                <a:gd name="T8" fmla="*/ 0 w 1088"/>
                <a:gd name="T9" fmla="*/ 546 h 1090"/>
                <a:gd name="T10" fmla="*/ 7 w 1088"/>
                <a:gd name="T11" fmla="*/ 562 h 1090"/>
                <a:gd name="T12" fmla="*/ 529 w 1088"/>
                <a:gd name="T13" fmla="*/ 1084 h 1090"/>
                <a:gd name="T14" fmla="*/ 544 w 1088"/>
                <a:gd name="T15" fmla="*/ 1090 h 1090"/>
                <a:gd name="T16" fmla="*/ 560 w 1088"/>
                <a:gd name="T17" fmla="*/ 1084 h 1090"/>
                <a:gd name="T18" fmla="*/ 1082 w 1088"/>
                <a:gd name="T19" fmla="*/ 562 h 1090"/>
                <a:gd name="T20" fmla="*/ 1088 w 1088"/>
                <a:gd name="T21" fmla="*/ 546 h 1090"/>
                <a:gd name="T22" fmla="*/ 1082 w 1088"/>
                <a:gd name="T23" fmla="*/ 53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8" h="1090">
                  <a:moveTo>
                    <a:pt x="1082" y="530"/>
                  </a:moveTo>
                  <a:cubicBezTo>
                    <a:pt x="560" y="8"/>
                    <a:pt x="560" y="8"/>
                    <a:pt x="560" y="8"/>
                  </a:cubicBezTo>
                  <a:cubicBezTo>
                    <a:pt x="551" y="0"/>
                    <a:pt x="537" y="0"/>
                    <a:pt x="529" y="8"/>
                  </a:cubicBezTo>
                  <a:cubicBezTo>
                    <a:pt x="7" y="530"/>
                    <a:pt x="7" y="530"/>
                    <a:pt x="7" y="530"/>
                  </a:cubicBezTo>
                  <a:cubicBezTo>
                    <a:pt x="3" y="535"/>
                    <a:pt x="0" y="540"/>
                    <a:pt x="0" y="546"/>
                  </a:cubicBezTo>
                  <a:cubicBezTo>
                    <a:pt x="0" y="552"/>
                    <a:pt x="3" y="557"/>
                    <a:pt x="7" y="562"/>
                  </a:cubicBezTo>
                  <a:cubicBezTo>
                    <a:pt x="529" y="1084"/>
                    <a:pt x="529" y="1084"/>
                    <a:pt x="529" y="1084"/>
                  </a:cubicBezTo>
                  <a:cubicBezTo>
                    <a:pt x="533" y="1088"/>
                    <a:pt x="539" y="1090"/>
                    <a:pt x="544" y="1090"/>
                  </a:cubicBezTo>
                  <a:cubicBezTo>
                    <a:pt x="550" y="1090"/>
                    <a:pt x="556" y="1088"/>
                    <a:pt x="560" y="1084"/>
                  </a:cubicBezTo>
                  <a:cubicBezTo>
                    <a:pt x="1082" y="562"/>
                    <a:pt x="1082" y="562"/>
                    <a:pt x="1082" y="562"/>
                  </a:cubicBezTo>
                  <a:cubicBezTo>
                    <a:pt x="1086" y="557"/>
                    <a:pt x="1088" y="552"/>
                    <a:pt x="1088" y="546"/>
                  </a:cubicBezTo>
                  <a:cubicBezTo>
                    <a:pt x="1088" y="540"/>
                    <a:pt x="1086" y="535"/>
                    <a:pt x="1082" y="530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72" name="bcgIcons_Global">
            <a:extLst>
              <a:ext uri="{FF2B5EF4-FFF2-40B4-BE49-F238E27FC236}">
                <a16:creationId xmlns:a16="http://schemas.microsoft.com/office/drawing/2014/main" xmlns="" id="{EA2CDFE6-A854-4226-BF7A-86120C3E4A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14972" y="5327111"/>
            <a:ext cx="686946" cy="687584"/>
            <a:chOff x="1682" y="0"/>
            <a:chExt cx="4316" cy="4320"/>
          </a:xfrm>
        </p:grpSpPr>
        <p:sp>
          <p:nvSpPr>
            <p:cNvPr id="73" name="AutoShape 28">
              <a:extLst>
                <a:ext uri="{FF2B5EF4-FFF2-40B4-BE49-F238E27FC236}">
                  <a16:creationId xmlns:a16="http://schemas.microsoft.com/office/drawing/2014/main" xmlns="" id="{702F9F3C-4998-4B0D-AA9D-A4D27F1CF1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74" name="Freeform 30">
              <a:extLst>
                <a:ext uri="{FF2B5EF4-FFF2-40B4-BE49-F238E27FC236}">
                  <a16:creationId xmlns:a16="http://schemas.microsoft.com/office/drawing/2014/main" xmlns="" id="{72890FAC-EDA7-4CFA-B7B9-C0EFA9B1C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8" y="444"/>
              <a:ext cx="3424" cy="3428"/>
            </a:xfrm>
            <a:custGeom>
              <a:avLst/>
              <a:gdLst>
                <a:gd name="T0" fmla="*/ 914 w 1828"/>
                <a:gd name="T1" fmla="*/ 1828 h 1828"/>
                <a:gd name="T2" fmla="*/ 268 w 1828"/>
                <a:gd name="T3" fmla="*/ 1560 h 1828"/>
                <a:gd name="T4" fmla="*/ 0 w 1828"/>
                <a:gd name="T5" fmla="*/ 914 h 1828"/>
                <a:gd name="T6" fmla="*/ 268 w 1828"/>
                <a:gd name="T7" fmla="*/ 268 h 1828"/>
                <a:gd name="T8" fmla="*/ 914 w 1828"/>
                <a:gd name="T9" fmla="*/ 0 h 1828"/>
                <a:gd name="T10" fmla="*/ 1560 w 1828"/>
                <a:gd name="T11" fmla="*/ 268 h 1828"/>
                <a:gd name="T12" fmla="*/ 1828 w 1828"/>
                <a:gd name="T13" fmla="*/ 914 h 1828"/>
                <a:gd name="T14" fmla="*/ 1560 w 1828"/>
                <a:gd name="T15" fmla="*/ 1560 h 1828"/>
                <a:gd name="T16" fmla="*/ 914 w 1828"/>
                <a:gd name="T17" fmla="*/ 1828 h 1828"/>
                <a:gd name="T18" fmla="*/ 914 w 1828"/>
                <a:gd name="T19" fmla="*/ 44 h 1828"/>
                <a:gd name="T20" fmla="*/ 44 w 1828"/>
                <a:gd name="T21" fmla="*/ 914 h 1828"/>
                <a:gd name="T22" fmla="*/ 914 w 1828"/>
                <a:gd name="T23" fmla="*/ 1784 h 1828"/>
                <a:gd name="T24" fmla="*/ 1784 w 1828"/>
                <a:gd name="T25" fmla="*/ 914 h 1828"/>
                <a:gd name="T26" fmla="*/ 914 w 1828"/>
                <a:gd name="T27" fmla="*/ 44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75" name="Freeform 31">
              <a:extLst>
                <a:ext uri="{FF2B5EF4-FFF2-40B4-BE49-F238E27FC236}">
                  <a16:creationId xmlns:a16="http://schemas.microsoft.com/office/drawing/2014/main" xmlns="" id="{3CDB24A4-21B7-49B0-8969-392CD80A9A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3" y="609"/>
              <a:ext cx="3094" cy="3098"/>
            </a:xfrm>
            <a:custGeom>
              <a:avLst/>
              <a:gdLst>
                <a:gd name="T0" fmla="*/ 1408 w 1652"/>
                <a:gd name="T1" fmla="*/ 241 h 1652"/>
                <a:gd name="T2" fmla="*/ 1227 w 1652"/>
                <a:gd name="T3" fmla="*/ 278 h 1652"/>
                <a:gd name="T4" fmla="*/ 1189 w 1652"/>
                <a:gd name="T5" fmla="*/ 209 h 1652"/>
                <a:gd name="T6" fmla="*/ 882 w 1652"/>
                <a:gd name="T7" fmla="*/ 372 h 1652"/>
                <a:gd name="T8" fmla="*/ 1184 w 1652"/>
                <a:gd name="T9" fmla="*/ 295 h 1652"/>
                <a:gd name="T10" fmla="*/ 909 w 1652"/>
                <a:gd name="T11" fmla="*/ 4 h 1652"/>
                <a:gd name="T12" fmla="*/ 848 w 1652"/>
                <a:gd name="T13" fmla="*/ 338 h 1652"/>
                <a:gd name="T14" fmla="*/ 804 w 1652"/>
                <a:gd name="T15" fmla="*/ 452 h 1652"/>
                <a:gd name="T16" fmla="*/ 475 w 1652"/>
                <a:gd name="T17" fmla="*/ 375 h 1652"/>
                <a:gd name="T18" fmla="*/ 362 w 1652"/>
                <a:gd name="T19" fmla="*/ 770 h 1652"/>
                <a:gd name="T20" fmla="*/ 769 w 1652"/>
                <a:gd name="T21" fmla="*/ 804 h 1652"/>
                <a:gd name="T22" fmla="*/ 804 w 1652"/>
                <a:gd name="T23" fmla="*/ 452 h 1652"/>
                <a:gd name="T24" fmla="*/ 1177 w 1652"/>
                <a:gd name="T25" fmla="*/ 375 h 1652"/>
                <a:gd name="T26" fmla="*/ 848 w 1652"/>
                <a:gd name="T27" fmla="*/ 452 h 1652"/>
                <a:gd name="T28" fmla="*/ 883 w 1652"/>
                <a:gd name="T29" fmla="*/ 804 h 1652"/>
                <a:gd name="T30" fmla="*/ 1290 w 1652"/>
                <a:gd name="T31" fmla="*/ 770 h 1652"/>
                <a:gd name="T32" fmla="*/ 769 w 1652"/>
                <a:gd name="T33" fmla="*/ 848 h 1652"/>
                <a:gd name="T34" fmla="*/ 362 w 1652"/>
                <a:gd name="T35" fmla="*/ 882 h 1652"/>
                <a:gd name="T36" fmla="*/ 475 w 1652"/>
                <a:gd name="T37" fmla="*/ 1277 h 1652"/>
                <a:gd name="T38" fmla="*/ 804 w 1652"/>
                <a:gd name="T39" fmla="*/ 1200 h 1652"/>
                <a:gd name="T40" fmla="*/ 769 w 1652"/>
                <a:gd name="T41" fmla="*/ 848 h 1652"/>
                <a:gd name="T42" fmla="*/ 1184 w 1652"/>
                <a:gd name="T43" fmla="*/ 1357 h 1652"/>
                <a:gd name="T44" fmla="*/ 882 w 1652"/>
                <a:gd name="T45" fmla="*/ 1280 h 1652"/>
                <a:gd name="T46" fmla="*/ 848 w 1652"/>
                <a:gd name="T47" fmla="*/ 1652 h 1652"/>
                <a:gd name="T48" fmla="*/ 1151 w 1652"/>
                <a:gd name="T49" fmla="*/ 1421 h 1652"/>
                <a:gd name="T50" fmla="*/ 1256 w 1652"/>
                <a:gd name="T51" fmla="*/ 848 h 1652"/>
                <a:gd name="T52" fmla="*/ 848 w 1652"/>
                <a:gd name="T53" fmla="*/ 883 h 1652"/>
                <a:gd name="T54" fmla="*/ 883 w 1652"/>
                <a:gd name="T55" fmla="*/ 1236 h 1652"/>
                <a:gd name="T56" fmla="*/ 1225 w 1652"/>
                <a:gd name="T57" fmla="*/ 1252 h 1652"/>
                <a:gd name="T58" fmla="*/ 1267 w 1652"/>
                <a:gd name="T59" fmla="*/ 385 h 1652"/>
                <a:gd name="T60" fmla="*/ 1370 w 1652"/>
                <a:gd name="T61" fmla="*/ 804 h 1652"/>
                <a:gd name="T62" fmla="*/ 1440 w 1652"/>
                <a:gd name="T63" fmla="*/ 274 h 1652"/>
                <a:gd name="T64" fmla="*/ 1267 w 1652"/>
                <a:gd name="T65" fmla="*/ 385 h 1652"/>
                <a:gd name="T66" fmla="*/ 1227 w 1652"/>
                <a:gd name="T67" fmla="*/ 1374 h 1652"/>
                <a:gd name="T68" fmla="*/ 1189 w 1652"/>
                <a:gd name="T69" fmla="*/ 1443 h 1652"/>
                <a:gd name="T70" fmla="*/ 1408 w 1652"/>
                <a:gd name="T71" fmla="*/ 1411 h 1652"/>
                <a:gd name="T72" fmla="*/ 463 w 1652"/>
                <a:gd name="T73" fmla="*/ 1443 h 1652"/>
                <a:gd name="T74" fmla="*/ 426 w 1652"/>
                <a:gd name="T75" fmla="*/ 1374 h 1652"/>
                <a:gd name="T76" fmla="*/ 244 w 1652"/>
                <a:gd name="T77" fmla="*/ 1411 h 1652"/>
                <a:gd name="T78" fmla="*/ 463 w 1652"/>
                <a:gd name="T79" fmla="*/ 1443 h 1652"/>
                <a:gd name="T80" fmla="*/ 486 w 1652"/>
                <a:gd name="T81" fmla="*/ 1319 h 1652"/>
                <a:gd name="T82" fmla="*/ 501 w 1652"/>
                <a:gd name="T83" fmla="*/ 1421 h 1652"/>
                <a:gd name="T84" fmla="*/ 804 w 1652"/>
                <a:gd name="T85" fmla="*/ 1652 h 1652"/>
                <a:gd name="T86" fmla="*/ 770 w 1652"/>
                <a:gd name="T87" fmla="*/ 1280 h 1652"/>
                <a:gd name="T88" fmla="*/ 1334 w 1652"/>
                <a:gd name="T89" fmla="*/ 883 h 1652"/>
                <a:gd name="T90" fmla="*/ 1287 w 1652"/>
                <a:gd name="T91" fmla="*/ 1310 h 1652"/>
                <a:gd name="T92" fmla="*/ 1652 w 1652"/>
                <a:gd name="T93" fmla="*/ 848 h 1652"/>
                <a:gd name="T94" fmla="*/ 804 w 1652"/>
                <a:gd name="T95" fmla="*/ 0 h 1652"/>
                <a:gd name="T96" fmla="*/ 501 w 1652"/>
                <a:gd name="T97" fmla="*/ 231 h 1652"/>
                <a:gd name="T98" fmla="*/ 486 w 1652"/>
                <a:gd name="T99" fmla="*/ 333 h 1652"/>
                <a:gd name="T100" fmla="*/ 804 w 1652"/>
                <a:gd name="T101" fmla="*/ 338 h 1652"/>
                <a:gd name="T102" fmla="*/ 378 w 1652"/>
                <a:gd name="T103" fmla="*/ 300 h 1652"/>
                <a:gd name="T104" fmla="*/ 427 w 1652"/>
                <a:gd name="T105" fmla="*/ 278 h 1652"/>
                <a:gd name="T106" fmla="*/ 610 w 1652"/>
                <a:gd name="T107" fmla="*/ 29 h 1652"/>
                <a:gd name="T108" fmla="*/ 378 w 1652"/>
                <a:gd name="T109" fmla="*/ 300 h 1652"/>
                <a:gd name="T110" fmla="*/ 318 w 1652"/>
                <a:gd name="T111" fmla="*/ 769 h 1652"/>
                <a:gd name="T112" fmla="*/ 365 w 1652"/>
                <a:gd name="T113" fmla="*/ 342 h 1652"/>
                <a:gd name="T114" fmla="*/ 0 w 1652"/>
                <a:gd name="T115" fmla="*/ 804 h 1652"/>
                <a:gd name="T116" fmla="*/ 385 w 1652"/>
                <a:gd name="T117" fmla="*/ 1267 h 1652"/>
                <a:gd name="T118" fmla="*/ 282 w 1652"/>
                <a:gd name="T119" fmla="*/ 848 h 1652"/>
                <a:gd name="T120" fmla="*/ 212 w 1652"/>
                <a:gd name="T121" fmla="*/ 1378 h 1652"/>
                <a:gd name="T122" fmla="*/ 385 w 1652"/>
                <a:gd name="T123" fmla="*/ 1267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sp>
        <p:nvSpPr>
          <p:cNvPr id="5" name="AutoShape 6" descr="blob:https://web.whatsapp.com/0c2bff86-4b70-4fa6-870c-65f6a1866ced">
            <a:extLst>
              <a:ext uri="{FF2B5EF4-FFF2-40B4-BE49-F238E27FC236}">
                <a16:creationId xmlns:a16="http://schemas.microsoft.com/office/drawing/2014/main" xmlns="" id="{79534850-40C8-4FEB-8F05-78641E11B0D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3314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53227" y="111163"/>
            <a:ext cx="729303" cy="93910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54" name="Title 1">
            <a:extLst>
              <a:ext uri="{FF2B5EF4-FFF2-40B4-BE49-F238E27FC236}">
                <a16:creationId xmlns:a16="http://schemas.microsoft.com/office/drawing/2014/main" xmlns="" id="{3D5612CC-49B6-4586-BB1D-D80D4D00CF1D}"/>
              </a:ext>
            </a:extLst>
          </p:cNvPr>
          <p:cNvSpPr txBox="1">
            <a:spLocks/>
          </p:cNvSpPr>
          <p:nvPr/>
        </p:nvSpPr>
        <p:spPr>
          <a:xfrm>
            <a:off x="445429" y="394730"/>
            <a:ext cx="10907798" cy="2991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3420"/>
            <a:r>
              <a:rPr lang="ru-RU" sz="2160" b="1" dirty="0">
                <a:solidFill>
                  <a:srgbClr val="F2F2F2"/>
                </a:solidFill>
                <a:cs typeface="Helvetica"/>
              </a:rPr>
              <a:t>Нормативная база системы маркировки</a:t>
            </a:r>
            <a:endParaRPr lang="bg-BG" sz="2160" dirty="0">
              <a:solidFill>
                <a:srgbClr val="F2F2F2"/>
              </a:solidFill>
              <a:cs typeface="Helvetic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2286A80-D15C-4E7F-BC0E-9F13E3FEC79F}"/>
              </a:ext>
            </a:extLst>
          </p:cNvPr>
          <p:cNvSpPr txBox="1"/>
          <p:nvPr/>
        </p:nvSpPr>
        <p:spPr>
          <a:xfrm>
            <a:off x="253976" y="4251868"/>
            <a:ext cx="11492595" cy="23105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A5B7BD7-CE5C-4E87-BB84-B39C011F0639}"/>
              </a:ext>
            </a:extLst>
          </p:cNvPr>
          <p:cNvSpPr txBox="1"/>
          <p:nvPr/>
        </p:nvSpPr>
        <p:spPr>
          <a:xfrm>
            <a:off x="253976" y="2841522"/>
            <a:ext cx="11492595" cy="2846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ступили в силу </a:t>
            </a:r>
          </a:p>
          <a:p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Распоряжение Правительства РФ от 28.12.2018 N 2963-р «Об утверждении Концепции создания и функционирования в Российской Федерации системы маркировки товаров средствами идентификации и прослеживаемости движения товаров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65113" indent="-265113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едеральный закон от 25 декабря 2018 г. № 488-ФЗ</a:t>
            </a:r>
          </a:p>
          <a:p>
            <a:pPr marL="265113"/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“О внесении изменений в Федеральный закон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N 381-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З «Об основах государственного</a:t>
            </a:r>
          </a:p>
          <a:p>
            <a:pPr marL="265113"/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регулирования торговой деятельности в Российской Федерации» и статьи 4.4 и 4.5 Федерального закона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N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54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-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З «О применении контрольно-кассовой техники при осуществлении расчетов в Российской Федерации»</a:t>
            </a:r>
          </a:p>
          <a:p>
            <a:pPr algn="ctr"/>
            <a:endParaRPr lang="en-US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 стадии обсуждения</a:t>
            </a:r>
          </a:p>
          <a:p>
            <a:pPr algn="ctr"/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Постановление Об утверждении Правил маркировки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табачной продукции средствами идентификации и особенностях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недрения государственной информационной системы мониторинга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товаров, подлежащих маркировке средствами идентификации,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 отношении табачной продукции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  <a:hlinkClick r:id="rId7"/>
              </a:rPr>
              <a:t>https://regulation.gov.ru/projects#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65113"/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algn="ctr"/>
            <a:endParaRPr lang="ru-RU" dirty="0" err="1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56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98DEA7B2-6C52-4D72-B5B4-5ED842F54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98DEA7B2-6C52-4D72-B5B4-5ED842F54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DCAF8285-2F82-43C8-8F9A-27665FD4D8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ea typeface="+mj-ea"/>
              <a:cs typeface="+mj-cs"/>
              <a:sym typeface="PT Sans Caption" panose="020B060302020302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093698"/>
            <a:ext cx="12192000" cy="397645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PT Sans Caption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4383627" y="2225879"/>
            <a:ext cx="3426096" cy="3426095"/>
          </a:xfrm>
          <a:prstGeom prst="ellipse">
            <a:avLst/>
          </a:prstGeom>
          <a:solidFill>
            <a:schemeClr val="bg1"/>
          </a:solidFill>
          <a:ln w="76200" cap="flat" cmpd="sng" algn="ctr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ru-RU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15198" y="3938822"/>
            <a:ext cx="2285719" cy="307777"/>
          </a:xfrm>
          <a:prstGeom prst="rect">
            <a:avLst/>
          </a:prstGeom>
          <a:noFill/>
        </p:spPr>
        <p:txBody>
          <a:bodyPr wrap="square" lIns="0" tIns="0" rIns="108000" bIns="0" rtlCol="0" anchor="ctr" anchorCtr="0">
            <a:spAutoFit/>
          </a:bodyPr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ru-RU" sz="2000" b="1" dirty="0">
                <a:solidFill>
                  <a:srgbClr val="595959"/>
                </a:solidFill>
                <a:latin typeface="PT Sans Caption"/>
                <a:ea typeface="Open Sans" panose="020B0606030504020204" pitchFamily="34" charset="0"/>
                <a:cs typeface="Open Sans" panose="020B0606030504020204" pitchFamily="34" charset="0"/>
              </a:rPr>
              <a:t>Бизнес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012797" y="2945476"/>
            <a:ext cx="2285719" cy="307777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 indent="-342891">
              <a:buSzPct val="100000"/>
              <a:buFont typeface="Trebuchet MS" panose="020B0603020202020204" pitchFamily="34" charset="0"/>
              <a:buChar char="​"/>
            </a:pPr>
            <a:r>
              <a:rPr lang="ru-RU" sz="2000" b="1" dirty="0">
                <a:solidFill>
                  <a:srgbClr val="595959"/>
                </a:solidFill>
                <a:latin typeface="PT Sans Caption"/>
                <a:ea typeface="Open Sans" panose="020B0606030504020204" pitchFamily="34" charset="0"/>
                <a:cs typeface="Open Sans" panose="020B0606030504020204" pitchFamily="34" charset="0"/>
              </a:rPr>
              <a:t>Государство</a:t>
            </a: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5501483" y="1673496"/>
            <a:ext cx="1189035" cy="1188573"/>
          </a:xfrm>
          <a:prstGeom prst="ellipse">
            <a:avLst/>
          </a:prstGeom>
          <a:solidFill>
            <a:schemeClr val="bg1"/>
          </a:solidFill>
          <a:ln w="38100" cap="flat" cmpd="sng" algn="ctr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ru-RU" kern="0" dirty="0">
              <a:solidFill>
                <a:srgbClr val="595959"/>
              </a:solidFill>
              <a:latin typeface="PT Sans Caption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894831" y="3738022"/>
            <a:ext cx="1189035" cy="1188573"/>
            <a:chOff x="3894831" y="3618754"/>
            <a:chExt cx="1189035" cy="1188573"/>
          </a:xfrm>
        </p:grpSpPr>
        <p:sp>
          <p:nvSpPr>
            <p:cNvPr id="10" name="Oval 9"/>
            <p:cNvSpPr>
              <a:spLocks noChangeAspect="1"/>
            </p:cNvSpPr>
            <p:nvPr/>
          </p:nvSpPr>
          <p:spPr>
            <a:xfrm>
              <a:off x="3894831" y="3618754"/>
              <a:ext cx="1189035" cy="1188573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gradFill flip="none" rotWithShape="1">
                <a:gsLst>
                  <a:gs pos="35000">
                    <a:srgbClr val="595959"/>
                  </a:gs>
                  <a:gs pos="100000">
                    <a:srgbClr val="F6F42E"/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ru-RU" kern="0" dirty="0">
                <a:solidFill>
                  <a:srgbClr val="595959"/>
                </a:solidFill>
                <a:latin typeface="PT Sans Caption"/>
              </a:endParaRPr>
            </a:p>
          </p:txBody>
        </p:sp>
        <p:grpSp>
          <p:nvGrpSpPr>
            <p:cNvPr id="13" name="bcgIcons_Business">
              <a:extLst>
                <a:ext uri="{FF2B5EF4-FFF2-40B4-BE49-F238E27FC236}">
                  <a16:creationId xmlns:a16="http://schemas.microsoft.com/office/drawing/2014/main" xmlns="" id="{F11F0F91-BD01-4054-BC58-4C7806294F2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99840" y="3804498"/>
              <a:ext cx="779016" cy="779739"/>
              <a:chOff x="1682" y="0"/>
              <a:chExt cx="4316" cy="4320"/>
            </a:xfrm>
          </p:grpSpPr>
          <p:sp>
            <p:nvSpPr>
              <p:cNvPr id="14" name="AutoShape 8">
                <a:extLst>
                  <a:ext uri="{FF2B5EF4-FFF2-40B4-BE49-F238E27FC236}">
                    <a16:creationId xmlns:a16="http://schemas.microsoft.com/office/drawing/2014/main" xmlns="" id="{F19CA9FC-3CF3-46C0-B394-626DEC86523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1" dirty="0">
                  <a:latin typeface="PT Sans Caption"/>
                </a:endParaRPr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xmlns="" id="{F4F629CB-F385-497A-85E0-F3F6A2C41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0" y="1438"/>
                <a:ext cx="3297" cy="1088"/>
              </a:xfrm>
              <a:custGeom>
                <a:avLst/>
                <a:gdLst>
                  <a:gd name="T0" fmla="*/ 1756 w 1760"/>
                  <a:gd name="T1" fmla="*/ 0 h 580"/>
                  <a:gd name="T2" fmla="*/ 4 w 1760"/>
                  <a:gd name="T3" fmla="*/ 0 h 580"/>
                  <a:gd name="T4" fmla="*/ 0 w 1760"/>
                  <a:gd name="T5" fmla="*/ 4 h 580"/>
                  <a:gd name="T6" fmla="*/ 0 w 1760"/>
                  <a:gd name="T7" fmla="*/ 8 h 580"/>
                  <a:gd name="T8" fmla="*/ 213 w 1760"/>
                  <a:gd name="T9" fmla="*/ 475 h 580"/>
                  <a:gd name="T10" fmla="*/ 445 w 1760"/>
                  <a:gd name="T11" fmla="*/ 580 h 580"/>
                  <a:gd name="T12" fmla="*/ 729 w 1760"/>
                  <a:gd name="T13" fmla="*/ 580 h 580"/>
                  <a:gd name="T14" fmla="*/ 729 w 1760"/>
                  <a:gd name="T15" fmla="*/ 487 h 580"/>
                  <a:gd name="T16" fmla="*/ 803 w 1760"/>
                  <a:gd name="T17" fmla="*/ 413 h 580"/>
                  <a:gd name="T18" fmla="*/ 957 w 1760"/>
                  <a:gd name="T19" fmla="*/ 413 h 580"/>
                  <a:gd name="T20" fmla="*/ 1031 w 1760"/>
                  <a:gd name="T21" fmla="*/ 487 h 580"/>
                  <a:gd name="T22" fmla="*/ 1031 w 1760"/>
                  <a:gd name="T23" fmla="*/ 580 h 580"/>
                  <a:gd name="T24" fmla="*/ 1297 w 1760"/>
                  <a:gd name="T25" fmla="*/ 580 h 580"/>
                  <a:gd name="T26" fmla="*/ 1529 w 1760"/>
                  <a:gd name="T27" fmla="*/ 475 h 580"/>
                  <a:gd name="T28" fmla="*/ 1760 w 1760"/>
                  <a:gd name="T29" fmla="*/ 8 h 580"/>
                  <a:gd name="T30" fmla="*/ 1760 w 1760"/>
                  <a:gd name="T31" fmla="*/ 4 h 580"/>
                  <a:gd name="T32" fmla="*/ 1756 w 1760"/>
                  <a:gd name="T33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0" h="580">
                    <a:moveTo>
                      <a:pt x="17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92" y="308"/>
                      <a:pt x="213" y="475"/>
                    </a:cubicBezTo>
                    <a:cubicBezTo>
                      <a:pt x="289" y="579"/>
                      <a:pt x="307" y="580"/>
                      <a:pt x="445" y="580"/>
                    </a:cubicBezTo>
                    <a:cubicBezTo>
                      <a:pt x="729" y="580"/>
                      <a:pt x="729" y="580"/>
                      <a:pt x="729" y="580"/>
                    </a:cubicBezTo>
                    <a:cubicBezTo>
                      <a:pt x="729" y="487"/>
                      <a:pt x="729" y="487"/>
                      <a:pt x="729" y="487"/>
                    </a:cubicBezTo>
                    <a:cubicBezTo>
                      <a:pt x="729" y="447"/>
                      <a:pt x="763" y="413"/>
                      <a:pt x="803" y="413"/>
                    </a:cubicBezTo>
                    <a:cubicBezTo>
                      <a:pt x="957" y="413"/>
                      <a:pt x="957" y="413"/>
                      <a:pt x="957" y="413"/>
                    </a:cubicBezTo>
                    <a:cubicBezTo>
                      <a:pt x="997" y="413"/>
                      <a:pt x="1031" y="447"/>
                      <a:pt x="1031" y="487"/>
                    </a:cubicBezTo>
                    <a:cubicBezTo>
                      <a:pt x="1031" y="580"/>
                      <a:pt x="1031" y="580"/>
                      <a:pt x="1031" y="580"/>
                    </a:cubicBezTo>
                    <a:cubicBezTo>
                      <a:pt x="1297" y="580"/>
                      <a:pt x="1297" y="580"/>
                      <a:pt x="1297" y="580"/>
                    </a:cubicBezTo>
                    <a:cubicBezTo>
                      <a:pt x="1419" y="580"/>
                      <a:pt x="1463" y="568"/>
                      <a:pt x="1529" y="475"/>
                    </a:cubicBezTo>
                    <a:cubicBezTo>
                      <a:pt x="1652" y="303"/>
                      <a:pt x="1760" y="8"/>
                      <a:pt x="1760" y="8"/>
                    </a:cubicBezTo>
                    <a:cubicBezTo>
                      <a:pt x="1760" y="4"/>
                      <a:pt x="1760" y="4"/>
                      <a:pt x="1760" y="4"/>
                    </a:cubicBezTo>
                    <a:cubicBezTo>
                      <a:pt x="1760" y="2"/>
                      <a:pt x="1758" y="0"/>
                      <a:pt x="17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1" dirty="0">
                  <a:latin typeface="PT Sans Caption"/>
                </a:endParaRPr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xmlns="" id="{16B26A2C-1E07-47E2-A20B-A5A6553F9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1" y="667"/>
                <a:ext cx="3454" cy="2972"/>
              </a:xfrm>
              <a:custGeom>
                <a:avLst/>
                <a:gdLst>
                  <a:gd name="T0" fmla="*/ 517 w 1844"/>
                  <a:gd name="T1" fmla="*/ 329 h 1585"/>
                  <a:gd name="T2" fmla="*/ 517 w 1844"/>
                  <a:gd name="T3" fmla="*/ 154 h 1585"/>
                  <a:gd name="T4" fmla="*/ 670 w 1844"/>
                  <a:gd name="T5" fmla="*/ 0 h 1585"/>
                  <a:gd name="T6" fmla="*/ 1174 w 1844"/>
                  <a:gd name="T7" fmla="*/ 0 h 1585"/>
                  <a:gd name="T8" fmla="*/ 1327 w 1844"/>
                  <a:gd name="T9" fmla="*/ 154 h 1585"/>
                  <a:gd name="T10" fmla="*/ 1327 w 1844"/>
                  <a:gd name="T11" fmla="*/ 329 h 1585"/>
                  <a:gd name="T12" fmla="*/ 1239 w 1844"/>
                  <a:gd name="T13" fmla="*/ 329 h 1585"/>
                  <a:gd name="T14" fmla="*/ 1239 w 1844"/>
                  <a:gd name="T15" fmla="*/ 154 h 1585"/>
                  <a:gd name="T16" fmla="*/ 1174 w 1844"/>
                  <a:gd name="T17" fmla="*/ 88 h 1585"/>
                  <a:gd name="T18" fmla="*/ 670 w 1844"/>
                  <a:gd name="T19" fmla="*/ 88 h 1585"/>
                  <a:gd name="T20" fmla="*/ 605 w 1844"/>
                  <a:gd name="T21" fmla="*/ 154 h 1585"/>
                  <a:gd name="T22" fmla="*/ 605 w 1844"/>
                  <a:gd name="T23" fmla="*/ 329 h 1585"/>
                  <a:gd name="T24" fmla="*/ 517 w 1844"/>
                  <a:gd name="T25" fmla="*/ 329 h 1585"/>
                  <a:gd name="T26" fmla="*/ 1844 w 1844"/>
                  <a:gd name="T27" fmla="*/ 1541 h 1585"/>
                  <a:gd name="T28" fmla="*/ 1844 w 1844"/>
                  <a:gd name="T29" fmla="*/ 413 h 1585"/>
                  <a:gd name="T30" fmla="*/ 1800 w 1844"/>
                  <a:gd name="T31" fmla="*/ 369 h 1585"/>
                  <a:gd name="T32" fmla="*/ 44 w 1844"/>
                  <a:gd name="T33" fmla="*/ 369 h 1585"/>
                  <a:gd name="T34" fmla="*/ 0 w 1844"/>
                  <a:gd name="T35" fmla="*/ 413 h 1585"/>
                  <a:gd name="T36" fmla="*/ 0 w 1844"/>
                  <a:gd name="T37" fmla="*/ 1541 h 1585"/>
                  <a:gd name="T38" fmla="*/ 44 w 1844"/>
                  <a:gd name="T39" fmla="*/ 1585 h 1585"/>
                  <a:gd name="T40" fmla="*/ 1800 w 1844"/>
                  <a:gd name="T41" fmla="*/ 1585 h 1585"/>
                  <a:gd name="T42" fmla="*/ 1844 w 1844"/>
                  <a:gd name="T43" fmla="*/ 1541 h 1585"/>
                  <a:gd name="T44" fmla="*/ 1800 w 1844"/>
                  <a:gd name="T45" fmla="*/ 413 h 1585"/>
                  <a:gd name="T46" fmla="*/ 1800 w 1844"/>
                  <a:gd name="T47" fmla="*/ 1541 h 1585"/>
                  <a:gd name="T48" fmla="*/ 44 w 1844"/>
                  <a:gd name="T49" fmla="*/ 1541 h 1585"/>
                  <a:gd name="T50" fmla="*/ 44 w 1844"/>
                  <a:gd name="T51" fmla="*/ 413 h 1585"/>
                  <a:gd name="T52" fmla="*/ 1800 w 1844"/>
                  <a:gd name="T53" fmla="*/ 413 h 1585"/>
                  <a:gd name="T54" fmla="*/ 1031 w 1844"/>
                  <a:gd name="T55" fmla="*/ 892 h 1585"/>
                  <a:gd name="T56" fmla="*/ 1031 w 1844"/>
                  <a:gd name="T57" fmla="*/ 1132 h 1585"/>
                  <a:gd name="T58" fmla="*/ 999 w 1844"/>
                  <a:gd name="T59" fmla="*/ 1164 h 1585"/>
                  <a:gd name="T60" fmla="*/ 845 w 1844"/>
                  <a:gd name="T61" fmla="*/ 1164 h 1585"/>
                  <a:gd name="T62" fmla="*/ 813 w 1844"/>
                  <a:gd name="T63" fmla="*/ 1132 h 1585"/>
                  <a:gd name="T64" fmla="*/ 813 w 1844"/>
                  <a:gd name="T65" fmla="*/ 892 h 1585"/>
                  <a:gd name="T66" fmla="*/ 845 w 1844"/>
                  <a:gd name="T67" fmla="*/ 860 h 1585"/>
                  <a:gd name="T68" fmla="*/ 999 w 1844"/>
                  <a:gd name="T69" fmla="*/ 860 h 1585"/>
                  <a:gd name="T70" fmla="*/ 1031 w 1844"/>
                  <a:gd name="T71" fmla="*/ 892 h 1585"/>
                  <a:gd name="T72" fmla="*/ 857 w 1844"/>
                  <a:gd name="T73" fmla="*/ 904 h 1585"/>
                  <a:gd name="T74" fmla="*/ 857 w 1844"/>
                  <a:gd name="T75" fmla="*/ 1029 h 1585"/>
                  <a:gd name="T76" fmla="*/ 987 w 1844"/>
                  <a:gd name="T77" fmla="*/ 1029 h 1585"/>
                  <a:gd name="T78" fmla="*/ 987 w 1844"/>
                  <a:gd name="T79" fmla="*/ 904 h 1585"/>
                  <a:gd name="T80" fmla="*/ 857 w 1844"/>
                  <a:gd name="T81" fmla="*/ 904 h 1585"/>
                  <a:gd name="T82" fmla="*/ 987 w 1844"/>
                  <a:gd name="T83" fmla="*/ 1120 h 1585"/>
                  <a:gd name="T84" fmla="*/ 987 w 1844"/>
                  <a:gd name="T85" fmla="*/ 1073 h 1585"/>
                  <a:gd name="T86" fmla="*/ 857 w 1844"/>
                  <a:gd name="T87" fmla="*/ 1073 h 1585"/>
                  <a:gd name="T88" fmla="*/ 857 w 1844"/>
                  <a:gd name="T89" fmla="*/ 1120 h 1585"/>
                  <a:gd name="T90" fmla="*/ 987 w 1844"/>
                  <a:gd name="T91" fmla="*/ 1120 h 1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44" h="1585">
                    <a:moveTo>
                      <a:pt x="517" y="329"/>
                    </a:moveTo>
                    <a:cubicBezTo>
                      <a:pt x="517" y="154"/>
                      <a:pt x="517" y="154"/>
                      <a:pt x="517" y="154"/>
                    </a:cubicBezTo>
                    <a:cubicBezTo>
                      <a:pt x="517" y="69"/>
                      <a:pt x="585" y="0"/>
                      <a:pt x="670" y="0"/>
                    </a:cubicBezTo>
                    <a:cubicBezTo>
                      <a:pt x="1174" y="0"/>
                      <a:pt x="1174" y="0"/>
                      <a:pt x="1174" y="0"/>
                    </a:cubicBezTo>
                    <a:cubicBezTo>
                      <a:pt x="1259" y="0"/>
                      <a:pt x="1327" y="69"/>
                      <a:pt x="1327" y="154"/>
                    </a:cubicBezTo>
                    <a:cubicBezTo>
                      <a:pt x="1327" y="329"/>
                      <a:pt x="1327" y="329"/>
                      <a:pt x="1327" y="329"/>
                    </a:cubicBezTo>
                    <a:cubicBezTo>
                      <a:pt x="1239" y="329"/>
                      <a:pt x="1239" y="329"/>
                      <a:pt x="1239" y="329"/>
                    </a:cubicBezTo>
                    <a:cubicBezTo>
                      <a:pt x="1239" y="154"/>
                      <a:pt x="1239" y="154"/>
                      <a:pt x="1239" y="154"/>
                    </a:cubicBezTo>
                    <a:cubicBezTo>
                      <a:pt x="1239" y="118"/>
                      <a:pt x="1210" y="88"/>
                      <a:pt x="1174" y="88"/>
                    </a:cubicBezTo>
                    <a:cubicBezTo>
                      <a:pt x="670" y="88"/>
                      <a:pt x="670" y="88"/>
                      <a:pt x="670" y="88"/>
                    </a:cubicBezTo>
                    <a:cubicBezTo>
                      <a:pt x="634" y="88"/>
                      <a:pt x="605" y="118"/>
                      <a:pt x="605" y="154"/>
                    </a:cubicBezTo>
                    <a:cubicBezTo>
                      <a:pt x="605" y="329"/>
                      <a:pt x="605" y="329"/>
                      <a:pt x="605" y="329"/>
                    </a:cubicBezTo>
                    <a:lnTo>
                      <a:pt x="517" y="329"/>
                    </a:lnTo>
                    <a:close/>
                    <a:moveTo>
                      <a:pt x="1844" y="1541"/>
                    </a:moveTo>
                    <a:cubicBezTo>
                      <a:pt x="1844" y="413"/>
                      <a:pt x="1844" y="413"/>
                      <a:pt x="1844" y="413"/>
                    </a:cubicBezTo>
                    <a:cubicBezTo>
                      <a:pt x="1844" y="389"/>
                      <a:pt x="1824" y="369"/>
                      <a:pt x="1800" y="369"/>
                    </a:cubicBezTo>
                    <a:cubicBezTo>
                      <a:pt x="44" y="369"/>
                      <a:pt x="44" y="369"/>
                      <a:pt x="44" y="369"/>
                    </a:cubicBezTo>
                    <a:cubicBezTo>
                      <a:pt x="20" y="369"/>
                      <a:pt x="0" y="389"/>
                      <a:pt x="0" y="413"/>
                    </a:cubicBezTo>
                    <a:cubicBezTo>
                      <a:pt x="0" y="1541"/>
                      <a:pt x="0" y="1541"/>
                      <a:pt x="0" y="1541"/>
                    </a:cubicBezTo>
                    <a:cubicBezTo>
                      <a:pt x="0" y="1565"/>
                      <a:pt x="20" y="1585"/>
                      <a:pt x="44" y="1585"/>
                    </a:cubicBezTo>
                    <a:cubicBezTo>
                      <a:pt x="1800" y="1585"/>
                      <a:pt x="1800" y="1585"/>
                      <a:pt x="1800" y="1585"/>
                    </a:cubicBezTo>
                    <a:cubicBezTo>
                      <a:pt x="1824" y="1585"/>
                      <a:pt x="1844" y="1565"/>
                      <a:pt x="1844" y="1541"/>
                    </a:cubicBezTo>
                    <a:close/>
                    <a:moveTo>
                      <a:pt x="1800" y="413"/>
                    </a:moveTo>
                    <a:cubicBezTo>
                      <a:pt x="1800" y="1541"/>
                      <a:pt x="1800" y="1541"/>
                      <a:pt x="1800" y="1541"/>
                    </a:cubicBezTo>
                    <a:cubicBezTo>
                      <a:pt x="44" y="1541"/>
                      <a:pt x="44" y="1541"/>
                      <a:pt x="44" y="1541"/>
                    </a:cubicBezTo>
                    <a:cubicBezTo>
                      <a:pt x="44" y="413"/>
                      <a:pt x="44" y="413"/>
                      <a:pt x="44" y="413"/>
                    </a:cubicBezTo>
                    <a:lnTo>
                      <a:pt x="1800" y="413"/>
                    </a:lnTo>
                    <a:close/>
                    <a:moveTo>
                      <a:pt x="1031" y="892"/>
                    </a:moveTo>
                    <a:cubicBezTo>
                      <a:pt x="1031" y="1132"/>
                      <a:pt x="1031" y="1132"/>
                      <a:pt x="1031" y="1132"/>
                    </a:cubicBezTo>
                    <a:cubicBezTo>
                      <a:pt x="1031" y="1150"/>
                      <a:pt x="1016" y="1164"/>
                      <a:pt x="999" y="1164"/>
                    </a:cubicBezTo>
                    <a:cubicBezTo>
                      <a:pt x="845" y="1164"/>
                      <a:pt x="845" y="1164"/>
                      <a:pt x="845" y="1164"/>
                    </a:cubicBezTo>
                    <a:cubicBezTo>
                      <a:pt x="828" y="1164"/>
                      <a:pt x="813" y="1150"/>
                      <a:pt x="813" y="1132"/>
                    </a:cubicBezTo>
                    <a:cubicBezTo>
                      <a:pt x="813" y="892"/>
                      <a:pt x="813" y="892"/>
                      <a:pt x="813" y="892"/>
                    </a:cubicBezTo>
                    <a:cubicBezTo>
                      <a:pt x="813" y="875"/>
                      <a:pt x="828" y="860"/>
                      <a:pt x="845" y="860"/>
                    </a:cubicBezTo>
                    <a:cubicBezTo>
                      <a:pt x="999" y="860"/>
                      <a:pt x="999" y="860"/>
                      <a:pt x="999" y="860"/>
                    </a:cubicBezTo>
                    <a:cubicBezTo>
                      <a:pt x="1016" y="860"/>
                      <a:pt x="1031" y="875"/>
                      <a:pt x="1031" y="892"/>
                    </a:cubicBezTo>
                    <a:close/>
                    <a:moveTo>
                      <a:pt x="857" y="904"/>
                    </a:moveTo>
                    <a:cubicBezTo>
                      <a:pt x="857" y="1029"/>
                      <a:pt x="857" y="1029"/>
                      <a:pt x="857" y="1029"/>
                    </a:cubicBezTo>
                    <a:cubicBezTo>
                      <a:pt x="987" y="1029"/>
                      <a:pt x="987" y="1029"/>
                      <a:pt x="987" y="1029"/>
                    </a:cubicBezTo>
                    <a:cubicBezTo>
                      <a:pt x="987" y="904"/>
                      <a:pt x="987" y="904"/>
                      <a:pt x="987" y="904"/>
                    </a:cubicBezTo>
                    <a:lnTo>
                      <a:pt x="857" y="904"/>
                    </a:lnTo>
                    <a:close/>
                    <a:moveTo>
                      <a:pt x="987" y="1120"/>
                    </a:moveTo>
                    <a:cubicBezTo>
                      <a:pt x="987" y="1073"/>
                      <a:pt x="987" y="1073"/>
                      <a:pt x="987" y="1073"/>
                    </a:cubicBezTo>
                    <a:cubicBezTo>
                      <a:pt x="857" y="1073"/>
                      <a:pt x="857" y="1073"/>
                      <a:pt x="857" y="1073"/>
                    </a:cubicBezTo>
                    <a:cubicBezTo>
                      <a:pt x="857" y="1120"/>
                      <a:pt x="857" y="1120"/>
                      <a:pt x="857" y="1120"/>
                    </a:cubicBezTo>
                    <a:lnTo>
                      <a:pt x="987" y="1120"/>
                    </a:ln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1" dirty="0">
                  <a:latin typeface="PT Sans Caption"/>
                </a:endParaRPr>
              </a:p>
            </p:txBody>
          </p:sp>
        </p:grpSp>
      </p:grpSp>
      <p:sp>
        <p:nvSpPr>
          <p:cNvPr id="17" name="AutoShape 13">
            <a:extLst>
              <a:ext uri="{FF2B5EF4-FFF2-40B4-BE49-F238E27FC236}">
                <a16:creationId xmlns:a16="http://schemas.microsoft.com/office/drawing/2014/main" xmlns="" id="{3C3D9D18-6789-4A00-8831-91BF38F9763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706492" y="1877913"/>
            <a:ext cx="779016" cy="779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351" dirty="0">
              <a:latin typeface="PT Sans Caption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5790964" y="1971590"/>
            <a:ext cx="610614" cy="568921"/>
            <a:chOff x="5790964" y="1902017"/>
            <a:chExt cx="610614" cy="568921"/>
          </a:xfrm>
        </p:grpSpPr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0F53DE35-7F5E-48B5-B9DD-D84DD59FFC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6443" y="1902017"/>
              <a:ext cx="319837" cy="568921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rgbClr val="6E6F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1" dirty="0">
                <a:latin typeface="PT Sans Caption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D033E5D7-D092-40EC-9EC7-B6BB71F5CC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0964" y="2145686"/>
              <a:ext cx="610614" cy="32525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rgbClr val="6E6F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1" dirty="0">
                <a:latin typeface="PT Sans Caption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083952" y="3728083"/>
            <a:ext cx="1189035" cy="1188573"/>
            <a:chOff x="7034257" y="3936488"/>
            <a:chExt cx="1189035" cy="1188573"/>
          </a:xfrm>
        </p:grpSpPr>
        <p:sp>
          <p:nvSpPr>
            <p:cNvPr id="12" name="Oval 11"/>
            <p:cNvSpPr>
              <a:spLocks noChangeAspect="1"/>
            </p:cNvSpPr>
            <p:nvPr/>
          </p:nvSpPr>
          <p:spPr>
            <a:xfrm>
              <a:off x="7034257" y="3936488"/>
              <a:ext cx="1189035" cy="1188573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gradFill flip="none" rotWithShape="1">
                <a:gsLst>
                  <a:gs pos="35000">
                    <a:srgbClr val="595959"/>
                  </a:gs>
                  <a:gs pos="100000">
                    <a:srgbClr val="F6F42E"/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ru-RU" kern="0" dirty="0">
                <a:solidFill>
                  <a:srgbClr val="595959"/>
                </a:solidFill>
                <a:latin typeface="PT Sans Caption"/>
              </a:endParaRPr>
            </a:p>
          </p:txBody>
        </p:sp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7239267" y="4140904"/>
              <a:ext cx="779016" cy="7797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1" dirty="0">
                <a:latin typeface="PT Sans Caption"/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7294447" y="4237108"/>
              <a:ext cx="668655" cy="587512"/>
              <a:chOff x="5389626" y="2809113"/>
              <a:chExt cx="1412748" cy="1240155"/>
            </a:xfrm>
          </p:grpSpPr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5546598" y="2809113"/>
                <a:ext cx="1094613" cy="1074420"/>
              </a:xfrm>
              <a:custGeom>
                <a:avLst/>
                <a:gdLst>
                  <a:gd name="connsiteX0" fmla="*/ 4247806 w 4560888"/>
                  <a:gd name="connsiteY0" fmla="*/ 3752848 h 4476748"/>
                  <a:gd name="connsiteX1" fmla="*/ 4531071 w 4560888"/>
                  <a:gd name="connsiteY1" fmla="*/ 3752848 h 4476748"/>
                  <a:gd name="connsiteX2" fmla="*/ 4560888 w 4560888"/>
                  <a:gd name="connsiteY2" fmla="*/ 3782666 h 4476748"/>
                  <a:gd name="connsiteX3" fmla="*/ 4560888 w 4560888"/>
                  <a:gd name="connsiteY3" fmla="*/ 4065931 h 4476748"/>
                  <a:gd name="connsiteX4" fmla="*/ 4531071 w 4560888"/>
                  <a:gd name="connsiteY4" fmla="*/ 4095748 h 4476748"/>
                  <a:gd name="connsiteX5" fmla="*/ 4247806 w 4560888"/>
                  <a:gd name="connsiteY5" fmla="*/ 4095748 h 4476748"/>
                  <a:gd name="connsiteX6" fmla="*/ 4217988 w 4560888"/>
                  <a:gd name="connsiteY6" fmla="*/ 4065931 h 4476748"/>
                  <a:gd name="connsiteX7" fmla="*/ 4217988 w 4560888"/>
                  <a:gd name="connsiteY7" fmla="*/ 3782666 h 4476748"/>
                  <a:gd name="connsiteX8" fmla="*/ 4247806 w 4560888"/>
                  <a:gd name="connsiteY8" fmla="*/ 3752848 h 4476748"/>
                  <a:gd name="connsiteX9" fmla="*/ 3757130 w 4560888"/>
                  <a:gd name="connsiteY9" fmla="*/ 3752848 h 4476748"/>
                  <a:gd name="connsiteX10" fmla="*/ 4039084 w 4560888"/>
                  <a:gd name="connsiteY10" fmla="*/ 3752848 h 4476748"/>
                  <a:gd name="connsiteX11" fmla="*/ 4068763 w 4560888"/>
                  <a:gd name="connsiteY11" fmla="*/ 3782666 h 4476748"/>
                  <a:gd name="connsiteX12" fmla="*/ 4068763 w 4560888"/>
                  <a:gd name="connsiteY12" fmla="*/ 4065931 h 4476748"/>
                  <a:gd name="connsiteX13" fmla="*/ 4039084 w 4560888"/>
                  <a:gd name="connsiteY13" fmla="*/ 4095748 h 4476748"/>
                  <a:gd name="connsiteX14" fmla="*/ 3757130 w 4560888"/>
                  <a:gd name="connsiteY14" fmla="*/ 4095748 h 4476748"/>
                  <a:gd name="connsiteX15" fmla="*/ 3727450 w 4560888"/>
                  <a:gd name="connsiteY15" fmla="*/ 4065931 h 4476748"/>
                  <a:gd name="connsiteX16" fmla="*/ 3727450 w 4560888"/>
                  <a:gd name="connsiteY16" fmla="*/ 3782666 h 4476748"/>
                  <a:gd name="connsiteX17" fmla="*/ 3757130 w 4560888"/>
                  <a:gd name="connsiteY17" fmla="*/ 3752848 h 4476748"/>
                  <a:gd name="connsiteX18" fmla="*/ 3261968 w 4560888"/>
                  <a:gd name="connsiteY18" fmla="*/ 3752848 h 4476748"/>
                  <a:gd name="connsiteX19" fmla="*/ 3545233 w 4560888"/>
                  <a:gd name="connsiteY19" fmla="*/ 3752848 h 4476748"/>
                  <a:gd name="connsiteX20" fmla="*/ 3575050 w 4560888"/>
                  <a:gd name="connsiteY20" fmla="*/ 3782666 h 4476748"/>
                  <a:gd name="connsiteX21" fmla="*/ 3575050 w 4560888"/>
                  <a:gd name="connsiteY21" fmla="*/ 4065931 h 4476748"/>
                  <a:gd name="connsiteX22" fmla="*/ 3545233 w 4560888"/>
                  <a:gd name="connsiteY22" fmla="*/ 4095748 h 4476748"/>
                  <a:gd name="connsiteX23" fmla="*/ 3261968 w 4560888"/>
                  <a:gd name="connsiteY23" fmla="*/ 4095748 h 4476748"/>
                  <a:gd name="connsiteX24" fmla="*/ 3232150 w 4560888"/>
                  <a:gd name="connsiteY24" fmla="*/ 4065931 h 4476748"/>
                  <a:gd name="connsiteX25" fmla="*/ 3232150 w 4560888"/>
                  <a:gd name="connsiteY25" fmla="*/ 3782666 h 4476748"/>
                  <a:gd name="connsiteX26" fmla="*/ 3261968 w 4560888"/>
                  <a:gd name="connsiteY26" fmla="*/ 3752848 h 4476748"/>
                  <a:gd name="connsiteX27" fmla="*/ 1015517 w 4560888"/>
                  <a:gd name="connsiteY27" fmla="*/ 3752848 h 4476748"/>
                  <a:gd name="connsiteX28" fmla="*/ 1297471 w 4560888"/>
                  <a:gd name="connsiteY28" fmla="*/ 3752848 h 4476748"/>
                  <a:gd name="connsiteX29" fmla="*/ 1327151 w 4560888"/>
                  <a:gd name="connsiteY29" fmla="*/ 3782666 h 4476748"/>
                  <a:gd name="connsiteX30" fmla="*/ 1327151 w 4560888"/>
                  <a:gd name="connsiteY30" fmla="*/ 4065931 h 4476748"/>
                  <a:gd name="connsiteX31" fmla="*/ 1297471 w 4560888"/>
                  <a:gd name="connsiteY31" fmla="*/ 4095748 h 4476748"/>
                  <a:gd name="connsiteX32" fmla="*/ 1015517 w 4560888"/>
                  <a:gd name="connsiteY32" fmla="*/ 4095748 h 4476748"/>
                  <a:gd name="connsiteX33" fmla="*/ 985838 w 4560888"/>
                  <a:gd name="connsiteY33" fmla="*/ 4065931 h 4476748"/>
                  <a:gd name="connsiteX34" fmla="*/ 985838 w 4560888"/>
                  <a:gd name="connsiteY34" fmla="*/ 3782666 h 4476748"/>
                  <a:gd name="connsiteX35" fmla="*/ 1015517 w 4560888"/>
                  <a:gd name="connsiteY35" fmla="*/ 3752848 h 4476748"/>
                  <a:gd name="connsiteX36" fmla="*/ 523547 w 4560888"/>
                  <a:gd name="connsiteY36" fmla="*/ 3752848 h 4476748"/>
                  <a:gd name="connsiteX37" fmla="*/ 809954 w 4560888"/>
                  <a:gd name="connsiteY37" fmla="*/ 3752848 h 4476748"/>
                  <a:gd name="connsiteX38" fmla="*/ 839788 w 4560888"/>
                  <a:gd name="connsiteY38" fmla="*/ 3782666 h 4476748"/>
                  <a:gd name="connsiteX39" fmla="*/ 839788 w 4560888"/>
                  <a:gd name="connsiteY39" fmla="*/ 4065931 h 4476748"/>
                  <a:gd name="connsiteX40" fmla="*/ 809954 w 4560888"/>
                  <a:gd name="connsiteY40" fmla="*/ 4095748 h 4476748"/>
                  <a:gd name="connsiteX41" fmla="*/ 523547 w 4560888"/>
                  <a:gd name="connsiteY41" fmla="*/ 4095748 h 4476748"/>
                  <a:gd name="connsiteX42" fmla="*/ 493713 w 4560888"/>
                  <a:gd name="connsiteY42" fmla="*/ 4065931 h 4476748"/>
                  <a:gd name="connsiteX43" fmla="*/ 493713 w 4560888"/>
                  <a:gd name="connsiteY43" fmla="*/ 3782666 h 4476748"/>
                  <a:gd name="connsiteX44" fmla="*/ 523547 w 4560888"/>
                  <a:gd name="connsiteY44" fmla="*/ 3752848 h 4476748"/>
                  <a:gd name="connsiteX45" fmla="*/ 29817 w 4560888"/>
                  <a:gd name="connsiteY45" fmla="*/ 3752848 h 4476748"/>
                  <a:gd name="connsiteX46" fmla="*/ 313082 w 4560888"/>
                  <a:gd name="connsiteY46" fmla="*/ 3752848 h 4476748"/>
                  <a:gd name="connsiteX47" fmla="*/ 342900 w 4560888"/>
                  <a:gd name="connsiteY47" fmla="*/ 3782666 h 4476748"/>
                  <a:gd name="connsiteX48" fmla="*/ 342900 w 4560888"/>
                  <a:gd name="connsiteY48" fmla="*/ 4065931 h 4476748"/>
                  <a:gd name="connsiteX49" fmla="*/ 313082 w 4560888"/>
                  <a:gd name="connsiteY49" fmla="*/ 4095748 h 4476748"/>
                  <a:gd name="connsiteX50" fmla="*/ 29817 w 4560888"/>
                  <a:gd name="connsiteY50" fmla="*/ 4095748 h 4476748"/>
                  <a:gd name="connsiteX51" fmla="*/ 0 w 4560888"/>
                  <a:gd name="connsiteY51" fmla="*/ 4065931 h 4476748"/>
                  <a:gd name="connsiteX52" fmla="*/ 0 w 4560888"/>
                  <a:gd name="connsiteY52" fmla="*/ 3782666 h 4476748"/>
                  <a:gd name="connsiteX53" fmla="*/ 29817 w 4560888"/>
                  <a:gd name="connsiteY53" fmla="*/ 3752848 h 4476748"/>
                  <a:gd name="connsiteX54" fmla="*/ 4247806 w 4560888"/>
                  <a:gd name="connsiteY54" fmla="*/ 3267073 h 4476748"/>
                  <a:gd name="connsiteX55" fmla="*/ 4531071 w 4560888"/>
                  <a:gd name="connsiteY55" fmla="*/ 3267073 h 4476748"/>
                  <a:gd name="connsiteX56" fmla="*/ 4560888 w 4560888"/>
                  <a:gd name="connsiteY56" fmla="*/ 3296907 h 4476748"/>
                  <a:gd name="connsiteX57" fmla="*/ 4560888 w 4560888"/>
                  <a:gd name="connsiteY57" fmla="*/ 3583314 h 4476748"/>
                  <a:gd name="connsiteX58" fmla="*/ 4531071 w 4560888"/>
                  <a:gd name="connsiteY58" fmla="*/ 3613148 h 4476748"/>
                  <a:gd name="connsiteX59" fmla="*/ 4247806 w 4560888"/>
                  <a:gd name="connsiteY59" fmla="*/ 3613148 h 4476748"/>
                  <a:gd name="connsiteX60" fmla="*/ 4217988 w 4560888"/>
                  <a:gd name="connsiteY60" fmla="*/ 3583314 h 4476748"/>
                  <a:gd name="connsiteX61" fmla="*/ 4217988 w 4560888"/>
                  <a:gd name="connsiteY61" fmla="*/ 3296907 h 4476748"/>
                  <a:gd name="connsiteX62" fmla="*/ 4247806 w 4560888"/>
                  <a:gd name="connsiteY62" fmla="*/ 3267073 h 4476748"/>
                  <a:gd name="connsiteX63" fmla="*/ 3757130 w 4560888"/>
                  <a:gd name="connsiteY63" fmla="*/ 3267073 h 4476748"/>
                  <a:gd name="connsiteX64" fmla="*/ 4039084 w 4560888"/>
                  <a:gd name="connsiteY64" fmla="*/ 3267073 h 4476748"/>
                  <a:gd name="connsiteX65" fmla="*/ 4068763 w 4560888"/>
                  <a:gd name="connsiteY65" fmla="*/ 3296907 h 4476748"/>
                  <a:gd name="connsiteX66" fmla="*/ 4068763 w 4560888"/>
                  <a:gd name="connsiteY66" fmla="*/ 3583314 h 4476748"/>
                  <a:gd name="connsiteX67" fmla="*/ 4039084 w 4560888"/>
                  <a:gd name="connsiteY67" fmla="*/ 3613148 h 4476748"/>
                  <a:gd name="connsiteX68" fmla="*/ 3757130 w 4560888"/>
                  <a:gd name="connsiteY68" fmla="*/ 3613148 h 4476748"/>
                  <a:gd name="connsiteX69" fmla="*/ 3727450 w 4560888"/>
                  <a:gd name="connsiteY69" fmla="*/ 3583314 h 4476748"/>
                  <a:gd name="connsiteX70" fmla="*/ 3727450 w 4560888"/>
                  <a:gd name="connsiteY70" fmla="*/ 3296907 h 4476748"/>
                  <a:gd name="connsiteX71" fmla="*/ 3757130 w 4560888"/>
                  <a:gd name="connsiteY71" fmla="*/ 3267073 h 4476748"/>
                  <a:gd name="connsiteX72" fmla="*/ 3261968 w 4560888"/>
                  <a:gd name="connsiteY72" fmla="*/ 3267073 h 4476748"/>
                  <a:gd name="connsiteX73" fmla="*/ 3545233 w 4560888"/>
                  <a:gd name="connsiteY73" fmla="*/ 3267073 h 4476748"/>
                  <a:gd name="connsiteX74" fmla="*/ 3575050 w 4560888"/>
                  <a:gd name="connsiteY74" fmla="*/ 3296907 h 4476748"/>
                  <a:gd name="connsiteX75" fmla="*/ 3575050 w 4560888"/>
                  <a:gd name="connsiteY75" fmla="*/ 3583314 h 4476748"/>
                  <a:gd name="connsiteX76" fmla="*/ 3545233 w 4560888"/>
                  <a:gd name="connsiteY76" fmla="*/ 3613148 h 4476748"/>
                  <a:gd name="connsiteX77" fmla="*/ 3261968 w 4560888"/>
                  <a:gd name="connsiteY77" fmla="*/ 3613148 h 4476748"/>
                  <a:gd name="connsiteX78" fmla="*/ 3232150 w 4560888"/>
                  <a:gd name="connsiteY78" fmla="*/ 3583314 h 4476748"/>
                  <a:gd name="connsiteX79" fmla="*/ 3232150 w 4560888"/>
                  <a:gd name="connsiteY79" fmla="*/ 3296907 h 4476748"/>
                  <a:gd name="connsiteX80" fmla="*/ 3261968 w 4560888"/>
                  <a:gd name="connsiteY80" fmla="*/ 3267073 h 4476748"/>
                  <a:gd name="connsiteX81" fmla="*/ 1015517 w 4560888"/>
                  <a:gd name="connsiteY81" fmla="*/ 3267073 h 4476748"/>
                  <a:gd name="connsiteX82" fmla="*/ 1297471 w 4560888"/>
                  <a:gd name="connsiteY82" fmla="*/ 3267073 h 4476748"/>
                  <a:gd name="connsiteX83" fmla="*/ 1327151 w 4560888"/>
                  <a:gd name="connsiteY83" fmla="*/ 3296907 h 4476748"/>
                  <a:gd name="connsiteX84" fmla="*/ 1327151 w 4560888"/>
                  <a:gd name="connsiteY84" fmla="*/ 3583314 h 4476748"/>
                  <a:gd name="connsiteX85" fmla="*/ 1297471 w 4560888"/>
                  <a:gd name="connsiteY85" fmla="*/ 3613148 h 4476748"/>
                  <a:gd name="connsiteX86" fmla="*/ 1015517 w 4560888"/>
                  <a:gd name="connsiteY86" fmla="*/ 3613148 h 4476748"/>
                  <a:gd name="connsiteX87" fmla="*/ 985838 w 4560888"/>
                  <a:gd name="connsiteY87" fmla="*/ 3583314 h 4476748"/>
                  <a:gd name="connsiteX88" fmla="*/ 985838 w 4560888"/>
                  <a:gd name="connsiteY88" fmla="*/ 3296907 h 4476748"/>
                  <a:gd name="connsiteX89" fmla="*/ 1015517 w 4560888"/>
                  <a:gd name="connsiteY89" fmla="*/ 3267073 h 4476748"/>
                  <a:gd name="connsiteX90" fmla="*/ 523547 w 4560888"/>
                  <a:gd name="connsiteY90" fmla="*/ 3267073 h 4476748"/>
                  <a:gd name="connsiteX91" fmla="*/ 809954 w 4560888"/>
                  <a:gd name="connsiteY91" fmla="*/ 3267073 h 4476748"/>
                  <a:gd name="connsiteX92" fmla="*/ 839788 w 4560888"/>
                  <a:gd name="connsiteY92" fmla="*/ 3296907 h 4476748"/>
                  <a:gd name="connsiteX93" fmla="*/ 839788 w 4560888"/>
                  <a:gd name="connsiteY93" fmla="*/ 3583314 h 4476748"/>
                  <a:gd name="connsiteX94" fmla="*/ 809954 w 4560888"/>
                  <a:gd name="connsiteY94" fmla="*/ 3613148 h 4476748"/>
                  <a:gd name="connsiteX95" fmla="*/ 523547 w 4560888"/>
                  <a:gd name="connsiteY95" fmla="*/ 3613148 h 4476748"/>
                  <a:gd name="connsiteX96" fmla="*/ 493713 w 4560888"/>
                  <a:gd name="connsiteY96" fmla="*/ 3583314 h 4476748"/>
                  <a:gd name="connsiteX97" fmla="*/ 493713 w 4560888"/>
                  <a:gd name="connsiteY97" fmla="*/ 3296907 h 4476748"/>
                  <a:gd name="connsiteX98" fmla="*/ 523547 w 4560888"/>
                  <a:gd name="connsiteY98" fmla="*/ 3267073 h 4476748"/>
                  <a:gd name="connsiteX99" fmla="*/ 29817 w 4560888"/>
                  <a:gd name="connsiteY99" fmla="*/ 3267073 h 4476748"/>
                  <a:gd name="connsiteX100" fmla="*/ 313082 w 4560888"/>
                  <a:gd name="connsiteY100" fmla="*/ 3267073 h 4476748"/>
                  <a:gd name="connsiteX101" fmla="*/ 342900 w 4560888"/>
                  <a:gd name="connsiteY101" fmla="*/ 3296907 h 4476748"/>
                  <a:gd name="connsiteX102" fmla="*/ 342900 w 4560888"/>
                  <a:gd name="connsiteY102" fmla="*/ 3583314 h 4476748"/>
                  <a:gd name="connsiteX103" fmla="*/ 313082 w 4560888"/>
                  <a:gd name="connsiteY103" fmla="*/ 3613148 h 4476748"/>
                  <a:gd name="connsiteX104" fmla="*/ 29817 w 4560888"/>
                  <a:gd name="connsiteY104" fmla="*/ 3613148 h 4476748"/>
                  <a:gd name="connsiteX105" fmla="*/ 0 w 4560888"/>
                  <a:gd name="connsiteY105" fmla="*/ 3583314 h 4476748"/>
                  <a:gd name="connsiteX106" fmla="*/ 0 w 4560888"/>
                  <a:gd name="connsiteY106" fmla="*/ 3296907 h 4476748"/>
                  <a:gd name="connsiteX107" fmla="*/ 29817 w 4560888"/>
                  <a:gd name="connsiteY107" fmla="*/ 3267073 h 4476748"/>
                  <a:gd name="connsiteX108" fmla="*/ 2286000 w 4560888"/>
                  <a:gd name="connsiteY108" fmla="*/ 3255960 h 4476748"/>
                  <a:gd name="connsiteX109" fmla="*/ 2705100 w 4560888"/>
                  <a:gd name="connsiteY109" fmla="*/ 3532871 h 4476748"/>
                  <a:gd name="connsiteX110" fmla="*/ 2705100 w 4560888"/>
                  <a:gd name="connsiteY110" fmla="*/ 4476748 h 4476748"/>
                  <a:gd name="connsiteX111" fmla="*/ 1866900 w 4560888"/>
                  <a:gd name="connsiteY111" fmla="*/ 4476748 h 4476748"/>
                  <a:gd name="connsiteX112" fmla="*/ 1866900 w 4560888"/>
                  <a:gd name="connsiteY112" fmla="*/ 3532871 h 4476748"/>
                  <a:gd name="connsiteX113" fmla="*/ 2286000 w 4560888"/>
                  <a:gd name="connsiteY113" fmla="*/ 3255960 h 4476748"/>
                  <a:gd name="connsiteX114" fmla="*/ 3757130 w 4560888"/>
                  <a:gd name="connsiteY114" fmla="*/ 2633660 h 4476748"/>
                  <a:gd name="connsiteX115" fmla="*/ 4039084 w 4560888"/>
                  <a:gd name="connsiteY115" fmla="*/ 2633660 h 4476748"/>
                  <a:gd name="connsiteX116" fmla="*/ 4068763 w 4560888"/>
                  <a:gd name="connsiteY116" fmla="*/ 2663443 h 4476748"/>
                  <a:gd name="connsiteX117" fmla="*/ 4068763 w 4560888"/>
                  <a:gd name="connsiteY117" fmla="*/ 2940427 h 4476748"/>
                  <a:gd name="connsiteX118" fmla="*/ 4039084 w 4560888"/>
                  <a:gd name="connsiteY118" fmla="*/ 2970210 h 4476748"/>
                  <a:gd name="connsiteX119" fmla="*/ 3757130 w 4560888"/>
                  <a:gd name="connsiteY119" fmla="*/ 2970210 h 4476748"/>
                  <a:gd name="connsiteX120" fmla="*/ 3727450 w 4560888"/>
                  <a:gd name="connsiteY120" fmla="*/ 2940427 h 4476748"/>
                  <a:gd name="connsiteX121" fmla="*/ 3727450 w 4560888"/>
                  <a:gd name="connsiteY121" fmla="*/ 2663443 h 4476748"/>
                  <a:gd name="connsiteX122" fmla="*/ 3757130 w 4560888"/>
                  <a:gd name="connsiteY122" fmla="*/ 2633660 h 4476748"/>
                  <a:gd name="connsiteX123" fmla="*/ 3274530 w 4560888"/>
                  <a:gd name="connsiteY123" fmla="*/ 2633660 h 4476748"/>
                  <a:gd name="connsiteX124" fmla="*/ 3556484 w 4560888"/>
                  <a:gd name="connsiteY124" fmla="*/ 2633660 h 4476748"/>
                  <a:gd name="connsiteX125" fmla="*/ 3586163 w 4560888"/>
                  <a:gd name="connsiteY125" fmla="*/ 2663443 h 4476748"/>
                  <a:gd name="connsiteX126" fmla="*/ 3586163 w 4560888"/>
                  <a:gd name="connsiteY126" fmla="*/ 2940427 h 4476748"/>
                  <a:gd name="connsiteX127" fmla="*/ 3556484 w 4560888"/>
                  <a:gd name="connsiteY127" fmla="*/ 2970210 h 4476748"/>
                  <a:gd name="connsiteX128" fmla="*/ 3274530 w 4560888"/>
                  <a:gd name="connsiteY128" fmla="*/ 2970210 h 4476748"/>
                  <a:gd name="connsiteX129" fmla="*/ 3244850 w 4560888"/>
                  <a:gd name="connsiteY129" fmla="*/ 2940427 h 4476748"/>
                  <a:gd name="connsiteX130" fmla="*/ 3244850 w 4560888"/>
                  <a:gd name="connsiteY130" fmla="*/ 2663443 h 4476748"/>
                  <a:gd name="connsiteX131" fmla="*/ 3274530 w 4560888"/>
                  <a:gd name="connsiteY131" fmla="*/ 2633660 h 4476748"/>
                  <a:gd name="connsiteX132" fmla="*/ 2774468 w 4560888"/>
                  <a:gd name="connsiteY132" fmla="*/ 2633660 h 4476748"/>
                  <a:gd name="connsiteX133" fmla="*/ 3056422 w 4560888"/>
                  <a:gd name="connsiteY133" fmla="*/ 2633660 h 4476748"/>
                  <a:gd name="connsiteX134" fmla="*/ 3086101 w 4560888"/>
                  <a:gd name="connsiteY134" fmla="*/ 2663443 h 4476748"/>
                  <a:gd name="connsiteX135" fmla="*/ 3086101 w 4560888"/>
                  <a:gd name="connsiteY135" fmla="*/ 2940427 h 4476748"/>
                  <a:gd name="connsiteX136" fmla="*/ 3056422 w 4560888"/>
                  <a:gd name="connsiteY136" fmla="*/ 2970210 h 4476748"/>
                  <a:gd name="connsiteX137" fmla="*/ 2774468 w 4560888"/>
                  <a:gd name="connsiteY137" fmla="*/ 2970210 h 4476748"/>
                  <a:gd name="connsiteX138" fmla="*/ 2744788 w 4560888"/>
                  <a:gd name="connsiteY138" fmla="*/ 2940427 h 4476748"/>
                  <a:gd name="connsiteX139" fmla="*/ 2744788 w 4560888"/>
                  <a:gd name="connsiteY139" fmla="*/ 2663443 h 4476748"/>
                  <a:gd name="connsiteX140" fmla="*/ 2774468 w 4560888"/>
                  <a:gd name="connsiteY140" fmla="*/ 2633660 h 4476748"/>
                  <a:gd name="connsiteX141" fmla="*/ 1526847 w 4560888"/>
                  <a:gd name="connsiteY141" fmla="*/ 2633660 h 4476748"/>
                  <a:gd name="connsiteX142" fmla="*/ 1813254 w 4560888"/>
                  <a:gd name="connsiteY142" fmla="*/ 2633660 h 4476748"/>
                  <a:gd name="connsiteX143" fmla="*/ 1843088 w 4560888"/>
                  <a:gd name="connsiteY143" fmla="*/ 2663443 h 4476748"/>
                  <a:gd name="connsiteX144" fmla="*/ 1843088 w 4560888"/>
                  <a:gd name="connsiteY144" fmla="*/ 2940427 h 4476748"/>
                  <a:gd name="connsiteX145" fmla="*/ 1813254 w 4560888"/>
                  <a:gd name="connsiteY145" fmla="*/ 2970210 h 4476748"/>
                  <a:gd name="connsiteX146" fmla="*/ 1526847 w 4560888"/>
                  <a:gd name="connsiteY146" fmla="*/ 2970210 h 4476748"/>
                  <a:gd name="connsiteX147" fmla="*/ 1497013 w 4560888"/>
                  <a:gd name="connsiteY147" fmla="*/ 2940427 h 4476748"/>
                  <a:gd name="connsiteX148" fmla="*/ 1497013 w 4560888"/>
                  <a:gd name="connsiteY148" fmla="*/ 2663443 h 4476748"/>
                  <a:gd name="connsiteX149" fmla="*/ 1526847 w 4560888"/>
                  <a:gd name="connsiteY149" fmla="*/ 2633660 h 4476748"/>
                  <a:gd name="connsiteX150" fmla="*/ 1039329 w 4560888"/>
                  <a:gd name="connsiteY150" fmla="*/ 2633660 h 4476748"/>
                  <a:gd name="connsiteX151" fmla="*/ 1321283 w 4560888"/>
                  <a:gd name="connsiteY151" fmla="*/ 2633660 h 4476748"/>
                  <a:gd name="connsiteX152" fmla="*/ 1350963 w 4560888"/>
                  <a:gd name="connsiteY152" fmla="*/ 2663443 h 4476748"/>
                  <a:gd name="connsiteX153" fmla="*/ 1350963 w 4560888"/>
                  <a:gd name="connsiteY153" fmla="*/ 2940427 h 4476748"/>
                  <a:gd name="connsiteX154" fmla="*/ 1321283 w 4560888"/>
                  <a:gd name="connsiteY154" fmla="*/ 2970210 h 4476748"/>
                  <a:gd name="connsiteX155" fmla="*/ 1039329 w 4560888"/>
                  <a:gd name="connsiteY155" fmla="*/ 2970210 h 4476748"/>
                  <a:gd name="connsiteX156" fmla="*/ 1009650 w 4560888"/>
                  <a:gd name="connsiteY156" fmla="*/ 2940427 h 4476748"/>
                  <a:gd name="connsiteX157" fmla="*/ 1009650 w 4560888"/>
                  <a:gd name="connsiteY157" fmla="*/ 2663443 h 4476748"/>
                  <a:gd name="connsiteX158" fmla="*/ 1039329 w 4560888"/>
                  <a:gd name="connsiteY158" fmla="*/ 2633660 h 4476748"/>
                  <a:gd name="connsiteX159" fmla="*/ 544167 w 4560888"/>
                  <a:gd name="connsiteY159" fmla="*/ 2633660 h 4476748"/>
                  <a:gd name="connsiteX160" fmla="*/ 827432 w 4560888"/>
                  <a:gd name="connsiteY160" fmla="*/ 2633660 h 4476748"/>
                  <a:gd name="connsiteX161" fmla="*/ 857250 w 4560888"/>
                  <a:gd name="connsiteY161" fmla="*/ 2663443 h 4476748"/>
                  <a:gd name="connsiteX162" fmla="*/ 857250 w 4560888"/>
                  <a:gd name="connsiteY162" fmla="*/ 2940427 h 4476748"/>
                  <a:gd name="connsiteX163" fmla="*/ 827432 w 4560888"/>
                  <a:gd name="connsiteY163" fmla="*/ 2970210 h 4476748"/>
                  <a:gd name="connsiteX164" fmla="*/ 544167 w 4560888"/>
                  <a:gd name="connsiteY164" fmla="*/ 2970210 h 4476748"/>
                  <a:gd name="connsiteX165" fmla="*/ 514350 w 4560888"/>
                  <a:gd name="connsiteY165" fmla="*/ 2940427 h 4476748"/>
                  <a:gd name="connsiteX166" fmla="*/ 514350 w 4560888"/>
                  <a:gd name="connsiteY166" fmla="*/ 2663443 h 4476748"/>
                  <a:gd name="connsiteX167" fmla="*/ 544167 w 4560888"/>
                  <a:gd name="connsiteY167" fmla="*/ 2633660 h 4476748"/>
                  <a:gd name="connsiteX168" fmla="*/ 3757130 w 4560888"/>
                  <a:gd name="connsiteY168" fmla="*/ 2157410 h 4476748"/>
                  <a:gd name="connsiteX169" fmla="*/ 4039084 w 4560888"/>
                  <a:gd name="connsiteY169" fmla="*/ 2157410 h 4476748"/>
                  <a:gd name="connsiteX170" fmla="*/ 4068763 w 4560888"/>
                  <a:gd name="connsiteY170" fmla="*/ 2187228 h 4476748"/>
                  <a:gd name="connsiteX171" fmla="*/ 4068763 w 4560888"/>
                  <a:gd name="connsiteY171" fmla="*/ 2470493 h 4476748"/>
                  <a:gd name="connsiteX172" fmla="*/ 4039084 w 4560888"/>
                  <a:gd name="connsiteY172" fmla="*/ 2500310 h 4476748"/>
                  <a:gd name="connsiteX173" fmla="*/ 3757130 w 4560888"/>
                  <a:gd name="connsiteY173" fmla="*/ 2500310 h 4476748"/>
                  <a:gd name="connsiteX174" fmla="*/ 3727450 w 4560888"/>
                  <a:gd name="connsiteY174" fmla="*/ 2470493 h 4476748"/>
                  <a:gd name="connsiteX175" fmla="*/ 3727450 w 4560888"/>
                  <a:gd name="connsiteY175" fmla="*/ 2187228 h 4476748"/>
                  <a:gd name="connsiteX176" fmla="*/ 3757130 w 4560888"/>
                  <a:gd name="connsiteY176" fmla="*/ 2157410 h 4476748"/>
                  <a:gd name="connsiteX177" fmla="*/ 3274530 w 4560888"/>
                  <a:gd name="connsiteY177" fmla="*/ 2157410 h 4476748"/>
                  <a:gd name="connsiteX178" fmla="*/ 3556484 w 4560888"/>
                  <a:gd name="connsiteY178" fmla="*/ 2157410 h 4476748"/>
                  <a:gd name="connsiteX179" fmla="*/ 3586163 w 4560888"/>
                  <a:gd name="connsiteY179" fmla="*/ 2187228 h 4476748"/>
                  <a:gd name="connsiteX180" fmla="*/ 3586163 w 4560888"/>
                  <a:gd name="connsiteY180" fmla="*/ 2470493 h 4476748"/>
                  <a:gd name="connsiteX181" fmla="*/ 3556484 w 4560888"/>
                  <a:gd name="connsiteY181" fmla="*/ 2500310 h 4476748"/>
                  <a:gd name="connsiteX182" fmla="*/ 3274530 w 4560888"/>
                  <a:gd name="connsiteY182" fmla="*/ 2500310 h 4476748"/>
                  <a:gd name="connsiteX183" fmla="*/ 3244850 w 4560888"/>
                  <a:gd name="connsiteY183" fmla="*/ 2470493 h 4476748"/>
                  <a:gd name="connsiteX184" fmla="*/ 3244850 w 4560888"/>
                  <a:gd name="connsiteY184" fmla="*/ 2187228 h 4476748"/>
                  <a:gd name="connsiteX185" fmla="*/ 3274530 w 4560888"/>
                  <a:gd name="connsiteY185" fmla="*/ 2157410 h 4476748"/>
                  <a:gd name="connsiteX186" fmla="*/ 2774468 w 4560888"/>
                  <a:gd name="connsiteY186" fmla="*/ 2157410 h 4476748"/>
                  <a:gd name="connsiteX187" fmla="*/ 3056422 w 4560888"/>
                  <a:gd name="connsiteY187" fmla="*/ 2157410 h 4476748"/>
                  <a:gd name="connsiteX188" fmla="*/ 3086101 w 4560888"/>
                  <a:gd name="connsiteY188" fmla="*/ 2187228 h 4476748"/>
                  <a:gd name="connsiteX189" fmla="*/ 3086101 w 4560888"/>
                  <a:gd name="connsiteY189" fmla="*/ 2470493 h 4476748"/>
                  <a:gd name="connsiteX190" fmla="*/ 3056422 w 4560888"/>
                  <a:gd name="connsiteY190" fmla="*/ 2500310 h 4476748"/>
                  <a:gd name="connsiteX191" fmla="*/ 2774468 w 4560888"/>
                  <a:gd name="connsiteY191" fmla="*/ 2500310 h 4476748"/>
                  <a:gd name="connsiteX192" fmla="*/ 2744788 w 4560888"/>
                  <a:gd name="connsiteY192" fmla="*/ 2470493 h 4476748"/>
                  <a:gd name="connsiteX193" fmla="*/ 2744788 w 4560888"/>
                  <a:gd name="connsiteY193" fmla="*/ 2187228 h 4476748"/>
                  <a:gd name="connsiteX194" fmla="*/ 2774468 w 4560888"/>
                  <a:gd name="connsiteY194" fmla="*/ 2157410 h 4476748"/>
                  <a:gd name="connsiteX195" fmla="*/ 1526847 w 4560888"/>
                  <a:gd name="connsiteY195" fmla="*/ 2157410 h 4476748"/>
                  <a:gd name="connsiteX196" fmla="*/ 1813254 w 4560888"/>
                  <a:gd name="connsiteY196" fmla="*/ 2157410 h 4476748"/>
                  <a:gd name="connsiteX197" fmla="*/ 1843088 w 4560888"/>
                  <a:gd name="connsiteY197" fmla="*/ 2187228 h 4476748"/>
                  <a:gd name="connsiteX198" fmla="*/ 1843088 w 4560888"/>
                  <a:gd name="connsiteY198" fmla="*/ 2470493 h 4476748"/>
                  <a:gd name="connsiteX199" fmla="*/ 1813254 w 4560888"/>
                  <a:gd name="connsiteY199" fmla="*/ 2500310 h 4476748"/>
                  <a:gd name="connsiteX200" fmla="*/ 1526847 w 4560888"/>
                  <a:gd name="connsiteY200" fmla="*/ 2500310 h 4476748"/>
                  <a:gd name="connsiteX201" fmla="*/ 1497013 w 4560888"/>
                  <a:gd name="connsiteY201" fmla="*/ 2470493 h 4476748"/>
                  <a:gd name="connsiteX202" fmla="*/ 1497013 w 4560888"/>
                  <a:gd name="connsiteY202" fmla="*/ 2187228 h 4476748"/>
                  <a:gd name="connsiteX203" fmla="*/ 1526847 w 4560888"/>
                  <a:gd name="connsiteY203" fmla="*/ 2157410 h 4476748"/>
                  <a:gd name="connsiteX204" fmla="*/ 1039329 w 4560888"/>
                  <a:gd name="connsiteY204" fmla="*/ 2157410 h 4476748"/>
                  <a:gd name="connsiteX205" fmla="*/ 1321283 w 4560888"/>
                  <a:gd name="connsiteY205" fmla="*/ 2157410 h 4476748"/>
                  <a:gd name="connsiteX206" fmla="*/ 1350963 w 4560888"/>
                  <a:gd name="connsiteY206" fmla="*/ 2187228 h 4476748"/>
                  <a:gd name="connsiteX207" fmla="*/ 1350963 w 4560888"/>
                  <a:gd name="connsiteY207" fmla="*/ 2470493 h 4476748"/>
                  <a:gd name="connsiteX208" fmla="*/ 1321283 w 4560888"/>
                  <a:gd name="connsiteY208" fmla="*/ 2500310 h 4476748"/>
                  <a:gd name="connsiteX209" fmla="*/ 1039329 w 4560888"/>
                  <a:gd name="connsiteY209" fmla="*/ 2500310 h 4476748"/>
                  <a:gd name="connsiteX210" fmla="*/ 1009650 w 4560888"/>
                  <a:gd name="connsiteY210" fmla="*/ 2470493 h 4476748"/>
                  <a:gd name="connsiteX211" fmla="*/ 1009650 w 4560888"/>
                  <a:gd name="connsiteY211" fmla="*/ 2187228 h 4476748"/>
                  <a:gd name="connsiteX212" fmla="*/ 1039329 w 4560888"/>
                  <a:gd name="connsiteY212" fmla="*/ 2157410 h 4476748"/>
                  <a:gd name="connsiteX213" fmla="*/ 544167 w 4560888"/>
                  <a:gd name="connsiteY213" fmla="*/ 2157410 h 4476748"/>
                  <a:gd name="connsiteX214" fmla="*/ 827432 w 4560888"/>
                  <a:gd name="connsiteY214" fmla="*/ 2157410 h 4476748"/>
                  <a:gd name="connsiteX215" fmla="*/ 857250 w 4560888"/>
                  <a:gd name="connsiteY215" fmla="*/ 2187228 h 4476748"/>
                  <a:gd name="connsiteX216" fmla="*/ 857250 w 4560888"/>
                  <a:gd name="connsiteY216" fmla="*/ 2470493 h 4476748"/>
                  <a:gd name="connsiteX217" fmla="*/ 827432 w 4560888"/>
                  <a:gd name="connsiteY217" fmla="*/ 2500310 h 4476748"/>
                  <a:gd name="connsiteX218" fmla="*/ 544167 w 4560888"/>
                  <a:gd name="connsiteY218" fmla="*/ 2500310 h 4476748"/>
                  <a:gd name="connsiteX219" fmla="*/ 514350 w 4560888"/>
                  <a:gd name="connsiteY219" fmla="*/ 2470493 h 4476748"/>
                  <a:gd name="connsiteX220" fmla="*/ 514350 w 4560888"/>
                  <a:gd name="connsiteY220" fmla="*/ 2187228 h 4476748"/>
                  <a:gd name="connsiteX221" fmla="*/ 544167 w 4560888"/>
                  <a:gd name="connsiteY221" fmla="*/ 2157410 h 4476748"/>
                  <a:gd name="connsiteX222" fmla="*/ 2274189 w 4560888"/>
                  <a:gd name="connsiteY222" fmla="*/ 1470023 h 4476748"/>
                  <a:gd name="connsiteX223" fmla="*/ 2238375 w 4560888"/>
                  <a:gd name="connsiteY223" fmla="*/ 1505687 h 4476748"/>
                  <a:gd name="connsiteX224" fmla="*/ 2238375 w 4560888"/>
                  <a:gd name="connsiteY224" fmla="*/ 1689948 h 4476748"/>
                  <a:gd name="connsiteX225" fmla="*/ 2274189 w 4560888"/>
                  <a:gd name="connsiteY225" fmla="*/ 1725611 h 4476748"/>
                  <a:gd name="connsiteX226" fmla="*/ 2429384 w 4560888"/>
                  <a:gd name="connsiteY226" fmla="*/ 1725611 h 4476748"/>
                  <a:gd name="connsiteX227" fmla="*/ 2462213 w 4560888"/>
                  <a:gd name="connsiteY227" fmla="*/ 1689948 h 4476748"/>
                  <a:gd name="connsiteX228" fmla="*/ 2429384 w 4560888"/>
                  <a:gd name="connsiteY228" fmla="*/ 1654284 h 4476748"/>
                  <a:gd name="connsiteX229" fmla="*/ 2310003 w 4560888"/>
                  <a:gd name="connsiteY229" fmla="*/ 1654284 h 4476748"/>
                  <a:gd name="connsiteX230" fmla="*/ 2310003 w 4560888"/>
                  <a:gd name="connsiteY230" fmla="*/ 1505687 h 4476748"/>
                  <a:gd name="connsiteX231" fmla="*/ 2274189 w 4560888"/>
                  <a:gd name="connsiteY231" fmla="*/ 1470023 h 4476748"/>
                  <a:gd name="connsiteX232" fmla="*/ 2286000 w 4560888"/>
                  <a:gd name="connsiteY232" fmla="*/ 1389060 h 4476748"/>
                  <a:gd name="connsiteX233" fmla="*/ 2571750 w 4560888"/>
                  <a:gd name="connsiteY233" fmla="*/ 1677985 h 4476748"/>
                  <a:gd name="connsiteX234" fmla="*/ 2286000 w 4560888"/>
                  <a:gd name="connsiteY234" fmla="*/ 1966910 h 4476748"/>
                  <a:gd name="connsiteX235" fmla="*/ 2000250 w 4560888"/>
                  <a:gd name="connsiteY235" fmla="*/ 1677985 h 4476748"/>
                  <a:gd name="connsiteX236" fmla="*/ 2286000 w 4560888"/>
                  <a:gd name="connsiteY236" fmla="*/ 1389060 h 4476748"/>
                  <a:gd name="connsiteX237" fmla="*/ 2232618 w 4560888"/>
                  <a:gd name="connsiteY237" fmla="*/ 0 h 4476748"/>
                  <a:gd name="connsiteX238" fmla="*/ 2327848 w 4560888"/>
                  <a:gd name="connsiteY238" fmla="*/ 0 h 4476748"/>
                  <a:gd name="connsiteX239" fmla="*/ 3119444 w 4560888"/>
                  <a:gd name="connsiteY239" fmla="*/ 0 h 4476748"/>
                  <a:gd name="connsiteX240" fmla="*/ 3131348 w 4560888"/>
                  <a:gd name="connsiteY240" fmla="*/ 29720 h 4476748"/>
                  <a:gd name="connsiteX241" fmla="*/ 2928985 w 4560888"/>
                  <a:gd name="connsiteY241" fmla="*/ 231817 h 4476748"/>
                  <a:gd name="connsiteX242" fmla="*/ 2928985 w 4560888"/>
                  <a:gd name="connsiteY242" fmla="*/ 255593 h 4476748"/>
                  <a:gd name="connsiteX243" fmla="*/ 3131348 w 4560888"/>
                  <a:gd name="connsiteY243" fmla="*/ 457689 h 4476748"/>
                  <a:gd name="connsiteX244" fmla="*/ 3119444 w 4560888"/>
                  <a:gd name="connsiteY244" fmla="*/ 487409 h 4476748"/>
                  <a:gd name="connsiteX245" fmla="*/ 2360583 w 4560888"/>
                  <a:gd name="connsiteY245" fmla="*/ 487409 h 4476748"/>
                  <a:gd name="connsiteX246" fmla="*/ 2345703 w 4560888"/>
                  <a:gd name="connsiteY246" fmla="*/ 502270 h 4476748"/>
                  <a:gd name="connsiteX247" fmla="*/ 2345703 w 4560888"/>
                  <a:gd name="connsiteY247" fmla="*/ 894575 h 4476748"/>
                  <a:gd name="connsiteX248" fmla="*/ 2324872 w 4560888"/>
                  <a:gd name="connsiteY248" fmla="*/ 879715 h 4476748"/>
                  <a:gd name="connsiteX249" fmla="*/ 2250473 w 4560888"/>
                  <a:gd name="connsiteY249" fmla="*/ 879715 h 4476748"/>
                  <a:gd name="connsiteX250" fmla="*/ 2217738 w 4560888"/>
                  <a:gd name="connsiteY250" fmla="*/ 906463 h 4476748"/>
                  <a:gd name="connsiteX251" fmla="*/ 2217738 w 4560888"/>
                  <a:gd name="connsiteY251" fmla="*/ 487409 h 4476748"/>
                  <a:gd name="connsiteX252" fmla="*/ 2217738 w 4560888"/>
                  <a:gd name="connsiteY252" fmla="*/ 17832 h 4476748"/>
                  <a:gd name="connsiteX253" fmla="*/ 2232618 w 4560888"/>
                  <a:gd name="connsiteY253" fmla="*/ 0 h 447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</a:cxnLst>
                <a:rect l="l" t="t" r="r" b="b"/>
                <a:pathLst>
                  <a:path w="4560888" h="4476748">
                    <a:moveTo>
                      <a:pt x="4247806" y="3752848"/>
                    </a:moveTo>
                    <a:cubicBezTo>
                      <a:pt x="4531071" y="3752848"/>
                      <a:pt x="4531071" y="3752848"/>
                      <a:pt x="4531071" y="3752848"/>
                    </a:cubicBezTo>
                    <a:cubicBezTo>
                      <a:pt x="4548961" y="3752848"/>
                      <a:pt x="4560888" y="3767757"/>
                      <a:pt x="4560888" y="3782666"/>
                    </a:cubicBezTo>
                    <a:cubicBezTo>
                      <a:pt x="4560888" y="4065931"/>
                      <a:pt x="4560888" y="4065931"/>
                      <a:pt x="4560888" y="4065931"/>
                    </a:cubicBezTo>
                    <a:cubicBezTo>
                      <a:pt x="4560888" y="4083821"/>
                      <a:pt x="4548961" y="4095748"/>
                      <a:pt x="4531071" y="4095748"/>
                    </a:cubicBezTo>
                    <a:cubicBezTo>
                      <a:pt x="4247806" y="4095748"/>
                      <a:pt x="4247806" y="4095748"/>
                      <a:pt x="4247806" y="4095748"/>
                    </a:cubicBezTo>
                    <a:cubicBezTo>
                      <a:pt x="4229915" y="4095748"/>
                      <a:pt x="4217988" y="4083821"/>
                      <a:pt x="4217988" y="4065931"/>
                    </a:cubicBezTo>
                    <a:cubicBezTo>
                      <a:pt x="4217988" y="3782666"/>
                      <a:pt x="4217988" y="3782666"/>
                      <a:pt x="4217988" y="3782666"/>
                    </a:cubicBezTo>
                    <a:cubicBezTo>
                      <a:pt x="4217988" y="3767757"/>
                      <a:pt x="4229915" y="3752848"/>
                      <a:pt x="4247806" y="3752848"/>
                    </a:cubicBezTo>
                    <a:close/>
                    <a:moveTo>
                      <a:pt x="3757130" y="3752848"/>
                    </a:moveTo>
                    <a:cubicBezTo>
                      <a:pt x="4039084" y="3752848"/>
                      <a:pt x="4039084" y="3752848"/>
                      <a:pt x="4039084" y="3752848"/>
                    </a:cubicBezTo>
                    <a:cubicBezTo>
                      <a:pt x="4056891" y="3752848"/>
                      <a:pt x="4068763" y="3767757"/>
                      <a:pt x="4068763" y="3782666"/>
                    </a:cubicBezTo>
                    <a:cubicBezTo>
                      <a:pt x="4068763" y="4065931"/>
                      <a:pt x="4068763" y="4065931"/>
                      <a:pt x="4068763" y="4065931"/>
                    </a:cubicBezTo>
                    <a:cubicBezTo>
                      <a:pt x="4068763" y="4083821"/>
                      <a:pt x="4056891" y="4095748"/>
                      <a:pt x="4039084" y="4095748"/>
                    </a:cubicBezTo>
                    <a:cubicBezTo>
                      <a:pt x="3757130" y="4095748"/>
                      <a:pt x="3757130" y="4095748"/>
                      <a:pt x="3757130" y="4095748"/>
                    </a:cubicBezTo>
                    <a:cubicBezTo>
                      <a:pt x="3742290" y="4095748"/>
                      <a:pt x="3727450" y="4083821"/>
                      <a:pt x="3727450" y="4065931"/>
                    </a:cubicBezTo>
                    <a:cubicBezTo>
                      <a:pt x="3727450" y="3782666"/>
                      <a:pt x="3727450" y="3782666"/>
                      <a:pt x="3727450" y="3782666"/>
                    </a:cubicBezTo>
                    <a:cubicBezTo>
                      <a:pt x="3727450" y="3767757"/>
                      <a:pt x="3742290" y="3752848"/>
                      <a:pt x="3757130" y="3752848"/>
                    </a:cubicBezTo>
                    <a:close/>
                    <a:moveTo>
                      <a:pt x="3261968" y="3752848"/>
                    </a:moveTo>
                    <a:cubicBezTo>
                      <a:pt x="3545233" y="3752848"/>
                      <a:pt x="3545233" y="3752848"/>
                      <a:pt x="3545233" y="3752848"/>
                    </a:cubicBezTo>
                    <a:cubicBezTo>
                      <a:pt x="3560142" y="3752848"/>
                      <a:pt x="3575050" y="3767757"/>
                      <a:pt x="3575050" y="3782666"/>
                    </a:cubicBezTo>
                    <a:cubicBezTo>
                      <a:pt x="3575050" y="4065931"/>
                      <a:pt x="3575050" y="4065931"/>
                      <a:pt x="3575050" y="4065931"/>
                    </a:cubicBezTo>
                    <a:cubicBezTo>
                      <a:pt x="3575050" y="4083821"/>
                      <a:pt x="3560142" y="4095748"/>
                      <a:pt x="3545233" y="4095748"/>
                    </a:cubicBezTo>
                    <a:cubicBezTo>
                      <a:pt x="3261968" y="4095748"/>
                      <a:pt x="3261968" y="4095748"/>
                      <a:pt x="3261968" y="4095748"/>
                    </a:cubicBezTo>
                    <a:cubicBezTo>
                      <a:pt x="3244077" y="4095748"/>
                      <a:pt x="3232150" y="4083821"/>
                      <a:pt x="3232150" y="4065931"/>
                    </a:cubicBezTo>
                    <a:cubicBezTo>
                      <a:pt x="3232150" y="3782666"/>
                      <a:pt x="3232150" y="3782666"/>
                      <a:pt x="3232150" y="3782666"/>
                    </a:cubicBezTo>
                    <a:cubicBezTo>
                      <a:pt x="3232150" y="3767757"/>
                      <a:pt x="3244077" y="3752848"/>
                      <a:pt x="3261968" y="3752848"/>
                    </a:cubicBezTo>
                    <a:close/>
                    <a:moveTo>
                      <a:pt x="1015517" y="3752848"/>
                    </a:moveTo>
                    <a:cubicBezTo>
                      <a:pt x="1297471" y="3752848"/>
                      <a:pt x="1297471" y="3752848"/>
                      <a:pt x="1297471" y="3752848"/>
                    </a:cubicBezTo>
                    <a:cubicBezTo>
                      <a:pt x="1315279" y="3752848"/>
                      <a:pt x="1327151" y="3767757"/>
                      <a:pt x="1327151" y="3782666"/>
                    </a:cubicBezTo>
                    <a:cubicBezTo>
                      <a:pt x="1327151" y="4065931"/>
                      <a:pt x="1327151" y="4065931"/>
                      <a:pt x="1327151" y="4065931"/>
                    </a:cubicBezTo>
                    <a:cubicBezTo>
                      <a:pt x="1327151" y="4083821"/>
                      <a:pt x="1315279" y="4095748"/>
                      <a:pt x="1297471" y="4095748"/>
                    </a:cubicBezTo>
                    <a:cubicBezTo>
                      <a:pt x="1015517" y="4095748"/>
                      <a:pt x="1015517" y="4095748"/>
                      <a:pt x="1015517" y="4095748"/>
                    </a:cubicBezTo>
                    <a:cubicBezTo>
                      <a:pt x="1000677" y="4095748"/>
                      <a:pt x="985838" y="4083821"/>
                      <a:pt x="985838" y="4065931"/>
                    </a:cubicBezTo>
                    <a:cubicBezTo>
                      <a:pt x="985838" y="3782666"/>
                      <a:pt x="985838" y="3782666"/>
                      <a:pt x="985838" y="3782666"/>
                    </a:cubicBezTo>
                    <a:cubicBezTo>
                      <a:pt x="985838" y="3767757"/>
                      <a:pt x="1000677" y="3752848"/>
                      <a:pt x="1015517" y="3752848"/>
                    </a:cubicBezTo>
                    <a:close/>
                    <a:moveTo>
                      <a:pt x="523547" y="3752848"/>
                    </a:moveTo>
                    <a:cubicBezTo>
                      <a:pt x="809954" y="3752848"/>
                      <a:pt x="809954" y="3752848"/>
                      <a:pt x="809954" y="3752848"/>
                    </a:cubicBezTo>
                    <a:cubicBezTo>
                      <a:pt x="824871" y="3752848"/>
                      <a:pt x="839788" y="3767757"/>
                      <a:pt x="839788" y="3782666"/>
                    </a:cubicBezTo>
                    <a:cubicBezTo>
                      <a:pt x="839788" y="4065931"/>
                      <a:pt x="839788" y="4065931"/>
                      <a:pt x="839788" y="4065931"/>
                    </a:cubicBezTo>
                    <a:cubicBezTo>
                      <a:pt x="839788" y="4083821"/>
                      <a:pt x="824871" y="4095748"/>
                      <a:pt x="809954" y="4095748"/>
                    </a:cubicBezTo>
                    <a:cubicBezTo>
                      <a:pt x="523547" y="4095748"/>
                      <a:pt x="523547" y="4095748"/>
                      <a:pt x="523547" y="4095748"/>
                    </a:cubicBezTo>
                    <a:cubicBezTo>
                      <a:pt x="505646" y="4095748"/>
                      <a:pt x="493713" y="4083821"/>
                      <a:pt x="493713" y="4065931"/>
                    </a:cubicBezTo>
                    <a:cubicBezTo>
                      <a:pt x="493713" y="3782666"/>
                      <a:pt x="493713" y="3782666"/>
                      <a:pt x="493713" y="3782666"/>
                    </a:cubicBezTo>
                    <a:cubicBezTo>
                      <a:pt x="493713" y="3767757"/>
                      <a:pt x="505646" y="3752848"/>
                      <a:pt x="523547" y="3752848"/>
                    </a:cubicBezTo>
                    <a:close/>
                    <a:moveTo>
                      <a:pt x="29817" y="3752848"/>
                    </a:moveTo>
                    <a:cubicBezTo>
                      <a:pt x="313082" y="3752848"/>
                      <a:pt x="313082" y="3752848"/>
                      <a:pt x="313082" y="3752848"/>
                    </a:cubicBezTo>
                    <a:cubicBezTo>
                      <a:pt x="330973" y="3752848"/>
                      <a:pt x="342900" y="3767757"/>
                      <a:pt x="342900" y="3782666"/>
                    </a:cubicBezTo>
                    <a:cubicBezTo>
                      <a:pt x="342900" y="4065931"/>
                      <a:pt x="342900" y="4065931"/>
                      <a:pt x="342900" y="4065931"/>
                    </a:cubicBezTo>
                    <a:cubicBezTo>
                      <a:pt x="342900" y="4083821"/>
                      <a:pt x="330973" y="4095748"/>
                      <a:pt x="313082" y="4095748"/>
                    </a:cubicBezTo>
                    <a:cubicBezTo>
                      <a:pt x="29817" y="4095748"/>
                      <a:pt x="29817" y="4095748"/>
                      <a:pt x="29817" y="4095748"/>
                    </a:cubicBezTo>
                    <a:cubicBezTo>
                      <a:pt x="14909" y="4095748"/>
                      <a:pt x="0" y="4083821"/>
                      <a:pt x="0" y="4065931"/>
                    </a:cubicBezTo>
                    <a:cubicBezTo>
                      <a:pt x="0" y="3782666"/>
                      <a:pt x="0" y="3782666"/>
                      <a:pt x="0" y="3782666"/>
                    </a:cubicBezTo>
                    <a:cubicBezTo>
                      <a:pt x="0" y="3767757"/>
                      <a:pt x="14909" y="3752848"/>
                      <a:pt x="29817" y="3752848"/>
                    </a:cubicBezTo>
                    <a:close/>
                    <a:moveTo>
                      <a:pt x="4247806" y="3267073"/>
                    </a:moveTo>
                    <a:cubicBezTo>
                      <a:pt x="4531071" y="3267073"/>
                      <a:pt x="4531071" y="3267073"/>
                      <a:pt x="4531071" y="3267073"/>
                    </a:cubicBezTo>
                    <a:cubicBezTo>
                      <a:pt x="4548961" y="3267073"/>
                      <a:pt x="4560888" y="3281990"/>
                      <a:pt x="4560888" y="3296907"/>
                    </a:cubicBezTo>
                    <a:cubicBezTo>
                      <a:pt x="4560888" y="3583314"/>
                      <a:pt x="4560888" y="3583314"/>
                      <a:pt x="4560888" y="3583314"/>
                    </a:cubicBezTo>
                    <a:cubicBezTo>
                      <a:pt x="4560888" y="3601215"/>
                      <a:pt x="4548961" y="3613148"/>
                      <a:pt x="4531071" y="3613148"/>
                    </a:cubicBezTo>
                    <a:cubicBezTo>
                      <a:pt x="4247806" y="3613148"/>
                      <a:pt x="4247806" y="3613148"/>
                      <a:pt x="4247806" y="3613148"/>
                    </a:cubicBezTo>
                    <a:cubicBezTo>
                      <a:pt x="4229915" y="3613148"/>
                      <a:pt x="4217988" y="3601215"/>
                      <a:pt x="4217988" y="3583314"/>
                    </a:cubicBezTo>
                    <a:cubicBezTo>
                      <a:pt x="4217988" y="3296907"/>
                      <a:pt x="4217988" y="3296907"/>
                      <a:pt x="4217988" y="3296907"/>
                    </a:cubicBezTo>
                    <a:cubicBezTo>
                      <a:pt x="4217988" y="3281990"/>
                      <a:pt x="4229915" y="3267073"/>
                      <a:pt x="4247806" y="3267073"/>
                    </a:cubicBezTo>
                    <a:close/>
                    <a:moveTo>
                      <a:pt x="3757130" y="3267073"/>
                    </a:moveTo>
                    <a:cubicBezTo>
                      <a:pt x="4039084" y="3267073"/>
                      <a:pt x="4039084" y="3267073"/>
                      <a:pt x="4039084" y="3267073"/>
                    </a:cubicBezTo>
                    <a:cubicBezTo>
                      <a:pt x="4056891" y="3267073"/>
                      <a:pt x="4068763" y="3281990"/>
                      <a:pt x="4068763" y="3296907"/>
                    </a:cubicBezTo>
                    <a:cubicBezTo>
                      <a:pt x="4068763" y="3583314"/>
                      <a:pt x="4068763" y="3583314"/>
                      <a:pt x="4068763" y="3583314"/>
                    </a:cubicBezTo>
                    <a:cubicBezTo>
                      <a:pt x="4068763" y="3601215"/>
                      <a:pt x="4056891" y="3613148"/>
                      <a:pt x="4039084" y="3613148"/>
                    </a:cubicBezTo>
                    <a:cubicBezTo>
                      <a:pt x="3757130" y="3613148"/>
                      <a:pt x="3757130" y="3613148"/>
                      <a:pt x="3757130" y="3613148"/>
                    </a:cubicBezTo>
                    <a:cubicBezTo>
                      <a:pt x="3742290" y="3613148"/>
                      <a:pt x="3727450" y="3601215"/>
                      <a:pt x="3727450" y="3583314"/>
                    </a:cubicBezTo>
                    <a:cubicBezTo>
                      <a:pt x="3727450" y="3296907"/>
                      <a:pt x="3727450" y="3296907"/>
                      <a:pt x="3727450" y="3296907"/>
                    </a:cubicBezTo>
                    <a:cubicBezTo>
                      <a:pt x="3727450" y="3281990"/>
                      <a:pt x="3742290" y="3267073"/>
                      <a:pt x="3757130" y="3267073"/>
                    </a:cubicBezTo>
                    <a:close/>
                    <a:moveTo>
                      <a:pt x="3261968" y="3267073"/>
                    </a:moveTo>
                    <a:cubicBezTo>
                      <a:pt x="3545233" y="3267073"/>
                      <a:pt x="3545233" y="3267073"/>
                      <a:pt x="3545233" y="3267073"/>
                    </a:cubicBezTo>
                    <a:cubicBezTo>
                      <a:pt x="3560142" y="3267073"/>
                      <a:pt x="3575050" y="3281990"/>
                      <a:pt x="3575050" y="3296907"/>
                    </a:cubicBezTo>
                    <a:cubicBezTo>
                      <a:pt x="3575050" y="3583314"/>
                      <a:pt x="3575050" y="3583314"/>
                      <a:pt x="3575050" y="3583314"/>
                    </a:cubicBezTo>
                    <a:cubicBezTo>
                      <a:pt x="3575050" y="3601215"/>
                      <a:pt x="3560142" y="3613148"/>
                      <a:pt x="3545233" y="3613148"/>
                    </a:cubicBezTo>
                    <a:cubicBezTo>
                      <a:pt x="3261968" y="3613148"/>
                      <a:pt x="3261968" y="3613148"/>
                      <a:pt x="3261968" y="3613148"/>
                    </a:cubicBezTo>
                    <a:cubicBezTo>
                      <a:pt x="3244077" y="3613148"/>
                      <a:pt x="3232150" y="3601215"/>
                      <a:pt x="3232150" y="3583314"/>
                    </a:cubicBezTo>
                    <a:cubicBezTo>
                      <a:pt x="3232150" y="3296907"/>
                      <a:pt x="3232150" y="3296907"/>
                      <a:pt x="3232150" y="3296907"/>
                    </a:cubicBezTo>
                    <a:cubicBezTo>
                      <a:pt x="3232150" y="3281990"/>
                      <a:pt x="3244077" y="3267073"/>
                      <a:pt x="3261968" y="3267073"/>
                    </a:cubicBezTo>
                    <a:close/>
                    <a:moveTo>
                      <a:pt x="1015517" y="3267073"/>
                    </a:moveTo>
                    <a:cubicBezTo>
                      <a:pt x="1297471" y="3267073"/>
                      <a:pt x="1297471" y="3267073"/>
                      <a:pt x="1297471" y="3267073"/>
                    </a:cubicBezTo>
                    <a:cubicBezTo>
                      <a:pt x="1315279" y="3267073"/>
                      <a:pt x="1327151" y="3281990"/>
                      <a:pt x="1327151" y="3296907"/>
                    </a:cubicBezTo>
                    <a:cubicBezTo>
                      <a:pt x="1327151" y="3583314"/>
                      <a:pt x="1327151" y="3583314"/>
                      <a:pt x="1327151" y="3583314"/>
                    </a:cubicBezTo>
                    <a:cubicBezTo>
                      <a:pt x="1327151" y="3601215"/>
                      <a:pt x="1315279" y="3613148"/>
                      <a:pt x="1297471" y="3613148"/>
                    </a:cubicBezTo>
                    <a:cubicBezTo>
                      <a:pt x="1015517" y="3613148"/>
                      <a:pt x="1015517" y="3613148"/>
                      <a:pt x="1015517" y="3613148"/>
                    </a:cubicBezTo>
                    <a:cubicBezTo>
                      <a:pt x="1000677" y="3613148"/>
                      <a:pt x="985838" y="3601215"/>
                      <a:pt x="985838" y="3583314"/>
                    </a:cubicBezTo>
                    <a:cubicBezTo>
                      <a:pt x="985838" y="3296907"/>
                      <a:pt x="985838" y="3296907"/>
                      <a:pt x="985838" y="3296907"/>
                    </a:cubicBezTo>
                    <a:cubicBezTo>
                      <a:pt x="985838" y="3281990"/>
                      <a:pt x="1000677" y="3267073"/>
                      <a:pt x="1015517" y="3267073"/>
                    </a:cubicBezTo>
                    <a:close/>
                    <a:moveTo>
                      <a:pt x="523547" y="3267073"/>
                    </a:moveTo>
                    <a:cubicBezTo>
                      <a:pt x="809954" y="3267073"/>
                      <a:pt x="809954" y="3267073"/>
                      <a:pt x="809954" y="3267073"/>
                    </a:cubicBezTo>
                    <a:cubicBezTo>
                      <a:pt x="824871" y="3267073"/>
                      <a:pt x="839788" y="3281990"/>
                      <a:pt x="839788" y="3296907"/>
                    </a:cubicBezTo>
                    <a:cubicBezTo>
                      <a:pt x="839788" y="3583314"/>
                      <a:pt x="839788" y="3583314"/>
                      <a:pt x="839788" y="3583314"/>
                    </a:cubicBezTo>
                    <a:cubicBezTo>
                      <a:pt x="839788" y="3601215"/>
                      <a:pt x="824871" y="3613148"/>
                      <a:pt x="809954" y="3613148"/>
                    </a:cubicBezTo>
                    <a:cubicBezTo>
                      <a:pt x="523547" y="3613148"/>
                      <a:pt x="523547" y="3613148"/>
                      <a:pt x="523547" y="3613148"/>
                    </a:cubicBezTo>
                    <a:cubicBezTo>
                      <a:pt x="505646" y="3613148"/>
                      <a:pt x="493713" y="3601215"/>
                      <a:pt x="493713" y="3583314"/>
                    </a:cubicBezTo>
                    <a:cubicBezTo>
                      <a:pt x="493713" y="3296907"/>
                      <a:pt x="493713" y="3296907"/>
                      <a:pt x="493713" y="3296907"/>
                    </a:cubicBezTo>
                    <a:cubicBezTo>
                      <a:pt x="493713" y="3281990"/>
                      <a:pt x="505646" y="3267073"/>
                      <a:pt x="523547" y="3267073"/>
                    </a:cubicBezTo>
                    <a:close/>
                    <a:moveTo>
                      <a:pt x="29817" y="3267073"/>
                    </a:moveTo>
                    <a:cubicBezTo>
                      <a:pt x="313082" y="3267073"/>
                      <a:pt x="313082" y="3267073"/>
                      <a:pt x="313082" y="3267073"/>
                    </a:cubicBezTo>
                    <a:cubicBezTo>
                      <a:pt x="330973" y="3267073"/>
                      <a:pt x="342900" y="3281990"/>
                      <a:pt x="342900" y="3296907"/>
                    </a:cubicBezTo>
                    <a:cubicBezTo>
                      <a:pt x="342900" y="3583314"/>
                      <a:pt x="342900" y="3583314"/>
                      <a:pt x="342900" y="3583314"/>
                    </a:cubicBezTo>
                    <a:cubicBezTo>
                      <a:pt x="342900" y="3601215"/>
                      <a:pt x="330973" y="3613148"/>
                      <a:pt x="313082" y="3613148"/>
                    </a:cubicBezTo>
                    <a:cubicBezTo>
                      <a:pt x="29817" y="3613148"/>
                      <a:pt x="29817" y="3613148"/>
                      <a:pt x="29817" y="3613148"/>
                    </a:cubicBezTo>
                    <a:cubicBezTo>
                      <a:pt x="14909" y="3613148"/>
                      <a:pt x="0" y="3601215"/>
                      <a:pt x="0" y="3583314"/>
                    </a:cubicBezTo>
                    <a:cubicBezTo>
                      <a:pt x="0" y="3296907"/>
                      <a:pt x="0" y="3296907"/>
                      <a:pt x="0" y="3296907"/>
                    </a:cubicBezTo>
                    <a:cubicBezTo>
                      <a:pt x="0" y="3281990"/>
                      <a:pt x="14909" y="3267073"/>
                      <a:pt x="29817" y="3267073"/>
                    </a:cubicBezTo>
                    <a:close/>
                    <a:moveTo>
                      <a:pt x="2286000" y="3255960"/>
                    </a:moveTo>
                    <a:cubicBezTo>
                      <a:pt x="2517843" y="3255960"/>
                      <a:pt x="2705100" y="3381017"/>
                      <a:pt x="2705100" y="3532871"/>
                    </a:cubicBezTo>
                    <a:cubicBezTo>
                      <a:pt x="2705100" y="4476748"/>
                      <a:pt x="2705100" y="4476748"/>
                      <a:pt x="2705100" y="4476748"/>
                    </a:cubicBezTo>
                    <a:cubicBezTo>
                      <a:pt x="1866900" y="4476748"/>
                      <a:pt x="1866900" y="4476748"/>
                      <a:pt x="1866900" y="4476748"/>
                    </a:cubicBezTo>
                    <a:cubicBezTo>
                      <a:pt x="1866900" y="3532871"/>
                      <a:pt x="1866900" y="3532871"/>
                      <a:pt x="1866900" y="3532871"/>
                    </a:cubicBezTo>
                    <a:cubicBezTo>
                      <a:pt x="1866900" y="3381017"/>
                      <a:pt x="2054157" y="3255960"/>
                      <a:pt x="2286000" y="3255960"/>
                    </a:cubicBezTo>
                    <a:close/>
                    <a:moveTo>
                      <a:pt x="3757130" y="2633660"/>
                    </a:moveTo>
                    <a:cubicBezTo>
                      <a:pt x="4039084" y="2633660"/>
                      <a:pt x="4039084" y="2633660"/>
                      <a:pt x="4039084" y="2633660"/>
                    </a:cubicBezTo>
                    <a:cubicBezTo>
                      <a:pt x="4056891" y="2633660"/>
                      <a:pt x="4068763" y="2648552"/>
                      <a:pt x="4068763" y="2663443"/>
                    </a:cubicBezTo>
                    <a:cubicBezTo>
                      <a:pt x="4068763" y="2940427"/>
                      <a:pt x="4068763" y="2940427"/>
                      <a:pt x="4068763" y="2940427"/>
                    </a:cubicBezTo>
                    <a:cubicBezTo>
                      <a:pt x="4068763" y="2958297"/>
                      <a:pt x="4056891" y="2970210"/>
                      <a:pt x="4039084" y="2970210"/>
                    </a:cubicBezTo>
                    <a:cubicBezTo>
                      <a:pt x="3757130" y="2970210"/>
                      <a:pt x="3757130" y="2970210"/>
                      <a:pt x="3757130" y="2970210"/>
                    </a:cubicBezTo>
                    <a:cubicBezTo>
                      <a:pt x="3742290" y="2970210"/>
                      <a:pt x="3727450" y="2958297"/>
                      <a:pt x="3727450" y="2940427"/>
                    </a:cubicBezTo>
                    <a:cubicBezTo>
                      <a:pt x="3727450" y="2663443"/>
                      <a:pt x="3727450" y="2663443"/>
                      <a:pt x="3727450" y="2663443"/>
                    </a:cubicBezTo>
                    <a:cubicBezTo>
                      <a:pt x="3727450" y="2648552"/>
                      <a:pt x="3742290" y="2633660"/>
                      <a:pt x="3757130" y="2633660"/>
                    </a:cubicBezTo>
                    <a:close/>
                    <a:moveTo>
                      <a:pt x="3274530" y="2633660"/>
                    </a:moveTo>
                    <a:cubicBezTo>
                      <a:pt x="3556484" y="2633660"/>
                      <a:pt x="3556484" y="2633660"/>
                      <a:pt x="3556484" y="2633660"/>
                    </a:cubicBezTo>
                    <a:cubicBezTo>
                      <a:pt x="3571324" y="2633660"/>
                      <a:pt x="3586163" y="2648552"/>
                      <a:pt x="3586163" y="2663443"/>
                    </a:cubicBezTo>
                    <a:cubicBezTo>
                      <a:pt x="3586163" y="2940427"/>
                      <a:pt x="3586163" y="2940427"/>
                      <a:pt x="3586163" y="2940427"/>
                    </a:cubicBezTo>
                    <a:cubicBezTo>
                      <a:pt x="3586163" y="2958297"/>
                      <a:pt x="3571324" y="2970210"/>
                      <a:pt x="3556484" y="2970210"/>
                    </a:cubicBezTo>
                    <a:cubicBezTo>
                      <a:pt x="3274530" y="2970210"/>
                      <a:pt x="3274530" y="2970210"/>
                      <a:pt x="3274530" y="2970210"/>
                    </a:cubicBezTo>
                    <a:cubicBezTo>
                      <a:pt x="3256722" y="2970210"/>
                      <a:pt x="3244850" y="2958297"/>
                      <a:pt x="3244850" y="2940427"/>
                    </a:cubicBezTo>
                    <a:cubicBezTo>
                      <a:pt x="3244850" y="2663443"/>
                      <a:pt x="3244850" y="2663443"/>
                      <a:pt x="3244850" y="2663443"/>
                    </a:cubicBezTo>
                    <a:cubicBezTo>
                      <a:pt x="3244850" y="2648552"/>
                      <a:pt x="3256722" y="2633660"/>
                      <a:pt x="3274530" y="2633660"/>
                    </a:cubicBezTo>
                    <a:close/>
                    <a:moveTo>
                      <a:pt x="2774468" y="2633660"/>
                    </a:moveTo>
                    <a:cubicBezTo>
                      <a:pt x="3056422" y="2633660"/>
                      <a:pt x="3056422" y="2633660"/>
                      <a:pt x="3056422" y="2633660"/>
                    </a:cubicBezTo>
                    <a:cubicBezTo>
                      <a:pt x="3074229" y="2633660"/>
                      <a:pt x="3086101" y="2648552"/>
                      <a:pt x="3086101" y="2663443"/>
                    </a:cubicBezTo>
                    <a:cubicBezTo>
                      <a:pt x="3086101" y="2940427"/>
                      <a:pt x="3086101" y="2940427"/>
                      <a:pt x="3086101" y="2940427"/>
                    </a:cubicBezTo>
                    <a:cubicBezTo>
                      <a:pt x="3086101" y="2958297"/>
                      <a:pt x="3074229" y="2970210"/>
                      <a:pt x="3056422" y="2970210"/>
                    </a:cubicBezTo>
                    <a:cubicBezTo>
                      <a:pt x="2774468" y="2970210"/>
                      <a:pt x="2774468" y="2970210"/>
                      <a:pt x="2774468" y="2970210"/>
                    </a:cubicBezTo>
                    <a:cubicBezTo>
                      <a:pt x="2759628" y="2970210"/>
                      <a:pt x="2744788" y="2958297"/>
                      <a:pt x="2744788" y="2940427"/>
                    </a:cubicBezTo>
                    <a:cubicBezTo>
                      <a:pt x="2744788" y="2663443"/>
                      <a:pt x="2744788" y="2663443"/>
                      <a:pt x="2744788" y="2663443"/>
                    </a:cubicBezTo>
                    <a:cubicBezTo>
                      <a:pt x="2744788" y="2648552"/>
                      <a:pt x="2759628" y="2633660"/>
                      <a:pt x="2774468" y="2633660"/>
                    </a:cubicBezTo>
                    <a:close/>
                    <a:moveTo>
                      <a:pt x="1526847" y="2633660"/>
                    </a:moveTo>
                    <a:cubicBezTo>
                      <a:pt x="1813254" y="2633660"/>
                      <a:pt x="1813254" y="2633660"/>
                      <a:pt x="1813254" y="2633660"/>
                    </a:cubicBezTo>
                    <a:cubicBezTo>
                      <a:pt x="1828171" y="2633660"/>
                      <a:pt x="1843088" y="2648552"/>
                      <a:pt x="1843088" y="2663443"/>
                    </a:cubicBezTo>
                    <a:cubicBezTo>
                      <a:pt x="1843088" y="2940427"/>
                      <a:pt x="1843088" y="2940427"/>
                      <a:pt x="1843088" y="2940427"/>
                    </a:cubicBezTo>
                    <a:cubicBezTo>
                      <a:pt x="1843088" y="2958297"/>
                      <a:pt x="1828171" y="2970210"/>
                      <a:pt x="1813254" y="2970210"/>
                    </a:cubicBezTo>
                    <a:cubicBezTo>
                      <a:pt x="1526847" y="2970210"/>
                      <a:pt x="1526847" y="2970210"/>
                      <a:pt x="1526847" y="2970210"/>
                    </a:cubicBezTo>
                    <a:cubicBezTo>
                      <a:pt x="1508946" y="2970210"/>
                      <a:pt x="1497013" y="2958297"/>
                      <a:pt x="1497013" y="2940427"/>
                    </a:cubicBezTo>
                    <a:cubicBezTo>
                      <a:pt x="1497013" y="2663443"/>
                      <a:pt x="1497013" y="2663443"/>
                      <a:pt x="1497013" y="2663443"/>
                    </a:cubicBezTo>
                    <a:cubicBezTo>
                      <a:pt x="1497013" y="2648552"/>
                      <a:pt x="1508946" y="2633660"/>
                      <a:pt x="1526847" y="2633660"/>
                    </a:cubicBezTo>
                    <a:close/>
                    <a:moveTo>
                      <a:pt x="1039329" y="2633660"/>
                    </a:moveTo>
                    <a:cubicBezTo>
                      <a:pt x="1321283" y="2633660"/>
                      <a:pt x="1321283" y="2633660"/>
                      <a:pt x="1321283" y="2633660"/>
                    </a:cubicBezTo>
                    <a:cubicBezTo>
                      <a:pt x="1339091" y="2633660"/>
                      <a:pt x="1350963" y="2648552"/>
                      <a:pt x="1350963" y="2663443"/>
                    </a:cubicBezTo>
                    <a:cubicBezTo>
                      <a:pt x="1350963" y="2940427"/>
                      <a:pt x="1350963" y="2940427"/>
                      <a:pt x="1350963" y="2940427"/>
                    </a:cubicBezTo>
                    <a:cubicBezTo>
                      <a:pt x="1350963" y="2958297"/>
                      <a:pt x="1339091" y="2970210"/>
                      <a:pt x="1321283" y="2970210"/>
                    </a:cubicBezTo>
                    <a:cubicBezTo>
                      <a:pt x="1039329" y="2970210"/>
                      <a:pt x="1039329" y="2970210"/>
                      <a:pt x="1039329" y="2970210"/>
                    </a:cubicBezTo>
                    <a:cubicBezTo>
                      <a:pt x="1024489" y="2970210"/>
                      <a:pt x="1009650" y="2958297"/>
                      <a:pt x="1009650" y="2940427"/>
                    </a:cubicBezTo>
                    <a:cubicBezTo>
                      <a:pt x="1009650" y="2663443"/>
                      <a:pt x="1009650" y="2663443"/>
                      <a:pt x="1009650" y="2663443"/>
                    </a:cubicBezTo>
                    <a:cubicBezTo>
                      <a:pt x="1009650" y="2648552"/>
                      <a:pt x="1024489" y="2633660"/>
                      <a:pt x="1039329" y="2633660"/>
                    </a:cubicBezTo>
                    <a:close/>
                    <a:moveTo>
                      <a:pt x="544167" y="2633660"/>
                    </a:moveTo>
                    <a:cubicBezTo>
                      <a:pt x="827432" y="2633660"/>
                      <a:pt x="827432" y="2633660"/>
                      <a:pt x="827432" y="2633660"/>
                    </a:cubicBezTo>
                    <a:cubicBezTo>
                      <a:pt x="842341" y="2633660"/>
                      <a:pt x="857250" y="2648552"/>
                      <a:pt x="857250" y="2663443"/>
                    </a:cubicBezTo>
                    <a:cubicBezTo>
                      <a:pt x="857250" y="2940427"/>
                      <a:pt x="857250" y="2940427"/>
                      <a:pt x="857250" y="2940427"/>
                    </a:cubicBezTo>
                    <a:cubicBezTo>
                      <a:pt x="857250" y="2958297"/>
                      <a:pt x="842341" y="2970210"/>
                      <a:pt x="827432" y="2970210"/>
                    </a:cubicBezTo>
                    <a:cubicBezTo>
                      <a:pt x="544167" y="2970210"/>
                      <a:pt x="544167" y="2970210"/>
                      <a:pt x="544167" y="2970210"/>
                    </a:cubicBezTo>
                    <a:cubicBezTo>
                      <a:pt x="526277" y="2970210"/>
                      <a:pt x="514350" y="2958297"/>
                      <a:pt x="514350" y="2940427"/>
                    </a:cubicBezTo>
                    <a:cubicBezTo>
                      <a:pt x="514350" y="2663443"/>
                      <a:pt x="514350" y="2663443"/>
                      <a:pt x="514350" y="2663443"/>
                    </a:cubicBezTo>
                    <a:cubicBezTo>
                      <a:pt x="514350" y="2648552"/>
                      <a:pt x="526277" y="2633660"/>
                      <a:pt x="544167" y="2633660"/>
                    </a:cubicBezTo>
                    <a:close/>
                    <a:moveTo>
                      <a:pt x="3757130" y="2157410"/>
                    </a:moveTo>
                    <a:cubicBezTo>
                      <a:pt x="4039084" y="2157410"/>
                      <a:pt x="4039084" y="2157410"/>
                      <a:pt x="4039084" y="2157410"/>
                    </a:cubicBezTo>
                    <a:cubicBezTo>
                      <a:pt x="4056891" y="2157410"/>
                      <a:pt x="4068763" y="2169337"/>
                      <a:pt x="4068763" y="2187228"/>
                    </a:cubicBezTo>
                    <a:cubicBezTo>
                      <a:pt x="4068763" y="2470493"/>
                      <a:pt x="4068763" y="2470493"/>
                      <a:pt x="4068763" y="2470493"/>
                    </a:cubicBezTo>
                    <a:cubicBezTo>
                      <a:pt x="4068763" y="2485401"/>
                      <a:pt x="4056891" y="2500310"/>
                      <a:pt x="4039084" y="2500310"/>
                    </a:cubicBezTo>
                    <a:cubicBezTo>
                      <a:pt x="3757130" y="2500310"/>
                      <a:pt x="3757130" y="2500310"/>
                      <a:pt x="3757130" y="2500310"/>
                    </a:cubicBezTo>
                    <a:cubicBezTo>
                      <a:pt x="3742290" y="2500310"/>
                      <a:pt x="3727450" y="2485401"/>
                      <a:pt x="3727450" y="2470493"/>
                    </a:cubicBezTo>
                    <a:cubicBezTo>
                      <a:pt x="3727450" y="2187228"/>
                      <a:pt x="3727450" y="2187228"/>
                      <a:pt x="3727450" y="2187228"/>
                    </a:cubicBezTo>
                    <a:cubicBezTo>
                      <a:pt x="3727450" y="2169337"/>
                      <a:pt x="3742290" y="2157410"/>
                      <a:pt x="3757130" y="2157410"/>
                    </a:cubicBezTo>
                    <a:close/>
                    <a:moveTo>
                      <a:pt x="3274530" y="2157410"/>
                    </a:moveTo>
                    <a:cubicBezTo>
                      <a:pt x="3556484" y="2157410"/>
                      <a:pt x="3556484" y="2157410"/>
                      <a:pt x="3556484" y="2157410"/>
                    </a:cubicBezTo>
                    <a:cubicBezTo>
                      <a:pt x="3571324" y="2157410"/>
                      <a:pt x="3586163" y="2169337"/>
                      <a:pt x="3586163" y="2187228"/>
                    </a:cubicBezTo>
                    <a:cubicBezTo>
                      <a:pt x="3586163" y="2470493"/>
                      <a:pt x="3586163" y="2470493"/>
                      <a:pt x="3586163" y="2470493"/>
                    </a:cubicBezTo>
                    <a:cubicBezTo>
                      <a:pt x="3586163" y="2485401"/>
                      <a:pt x="3571324" y="2500310"/>
                      <a:pt x="3556484" y="2500310"/>
                    </a:cubicBezTo>
                    <a:cubicBezTo>
                      <a:pt x="3274530" y="2500310"/>
                      <a:pt x="3274530" y="2500310"/>
                      <a:pt x="3274530" y="2500310"/>
                    </a:cubicBezTo>
                    <a:cubicBezTo>
                      <a:pt x="3256722" y="2500310"/>
                      <a:pt x="3244850" y="2485401"/>
                      <a:pt x="3244850" y="2470493"/>
                    </a:cubicBezTo>
                    <a:cubicBezTo>
                      <a:pt x="3244850" y="2187228"/>
                      <a:pt x="3244850" y="2187228"/>
                      <a:pt x="3244850" y="2187228"/>
                    </a:cubicBezTo>
                    <a:cubicBezTo>
                      <a:pt x="3244850" y="2169337"/>
                      <a:pt x="3256722" y="2157410"/>
                      <a:pt x="3274530" y="2157410"/>
                    </a:cubicBezTo>
                    <a:close/>
                    <a:moveTo>
                      <a:pt x="2774468" y="2157410"/>
                    </a:moveTo>
                    <a:cubicBezTo>
                      <a:pt x="3056422" y="2157410"/>
                      <a:pt x="3056422" y="2157410"/>
                      <a:pt x="3056422" y="2157410"/>
                    </a:cubicBezTo>
                    <a:cubicBezTo>
                      <a:pt x="3074229" y="2157410"/>
                      <a:pt x="3086101" y="2169337"/>
                      <a:pt x="3086101" y="2187228"/>
                    </a:cubicBezTo>
                    <a:cubicBezTo>
                      <a:pt x="3086101" y="2470493"/>
                      <a:pt x="3086101" y="2470493"/>
                      <a:pt x="3086101" y="2470493"/>
                    </a:cubicBezTo>
                    <a:cubicBezTo>
                      <a:pt x="3086101" y="2485401"/>
                      <a:pt x="3074229" y="2500310"/>
                      <a:pt x="3056422" y="2500310"/>
                    </a:cubicBezTo>
                    <a:cubicBezTo>
                      <a:pt x="2774468" y="2500310"/>
                      <a:pt x="2774468" y="2500310"/>
                      <a:pt x="2774468" y="2500310"/>
                    </a:cubicBezTo>
                    <a:cubicBezTo>
                      <a:pt x="2759628" y="2500310"/>
                      <a:pt x="2744788" y="2485401"/>
                      <a:pt x="2744788" y="2470493"/>
                    </a:cubicBezTo>
                    <a:cubicBezTo>
                      <a:pt x="2744788" y="2187228"/>
                      <a:pt x="2744788" y="2187228"/>
                      <a:pt x="2744788" y="2187228"/>
                    </a:cubicBezTo>
                    <a:cubicBezTo>
                      <a:pt x="2744788" y="2169337"/>
                      <a:pt x="2759628" y="2157410"/>
                      <a:pt x="2774468" y="2157410"/>
                    </a:cubicBezTo>
                    <a:close/>
                    <a:moveTo>
                      <a:pt x="1526847" y="2157410"/>
                    </a:moveTo>
                    <a:cubicBezTo>
                      <a:pt x="1813254" y="2157410"/>
                      <a:pt x="1813254" y="2157410"/>
                      <a:pt x="1813254" y="2157410"/>
                    </a:cubicBezTo>
                    <a:cubicBezTo>
                      <a:pt x="1828171" y="2157410"/>
                      <a:pt x="1843088" y="2169337"/>
                      <a:pt x="1843088" y="2187228"/>
                    </a:cubicBezTo>
                    <a:cubicBezTo>
                      <a:pt x="1843088" y="2470493"/>
                      <a:pt x="1843088" y="2470493"/>
                      <a:pt x="1843088" y="2470493"/>
                    </a:cubicBezTo>
                    <a:cubicBezTo>
                      <a:pt x="1843088" y="2485401"/>
                      <a:pt x="1828171" y="2500310"/>
                      <a:pt x="1813254" y="2500310"/>
                    </a:cubicBezTo>
                    <a:cubicBezTo>
                      <a:pt x="1526847" y="2500310"/>
                      <a:pt x="1526847" y="2500310"/>
                      <a:pt x="1526847" y="2500310"/>
                    </a:cubicBezTo>
                    <a:cubicBezTo>
                      <a:pt x="1508946" y="2500310"/>
                      <a:pt x="1497013" y="2485401"/>
                      <a:pt x="1497013" y="2470493"/>
                    </a:cubicBezTo>
                    <a:cubicBezTo>
                      <a:pt x="1497013" y="2187228"/>
                      <a:pt x="1497013" y="2187228"/>
                      <a:pt x="1497013" y="2187228"/>
                    </a:cubicBezTo>
                    <a:cubicBezTo>
                      <a:pt x="1497013" y="2169337"/>
                      <a:pt x="1508946" y="2157410"/>
                      <a:pt x="1526847" y="2157410"/>
                    </a:cubicBezTo>
                    <a:close/>
                    <a:moveTo>
                      <a:pt x="1039329" y="2157410"/>
                    </a:moveTo>
                    <a:cubicBezTo>
                      <a:pt x="1321283" y="2157410"/>
                      <a:pt x="1321283" y="2157410"/>
                      <a:pt x="1321283" y="2157410"/>
                    </a:cubicBezTo>
                    <a:cubicBezTo>
                      <a:pt x="1339091" y="2157410"/>
                      <a:pt x="1350963" y="2169337"/>
                      <a:pt x="1350963" y="2187228"/>
                    </a:cubicBezTo>
                    <a:cubicBezTo>
                      <a:pt x="1350963" y="2470493"/>
                      <a:pt x="1350963" y="2470493"/>
                      <a:pt x="1350963" y="2470493"/>
                    </a:cubicBezTo>
                    <a:cubicBezTo>
                      <a:pt x="1350963" y="2485401"/>
                      <a:pt x="1339091" y="2500310"/>
                      <a:pt x="1321283" y="2500310"/>
                    </a:cubicBezTo>
                    <a:cubicBezTo>
                      <a:pt x="1039329" y="2500310"/>
                      <a:pt x="1039329" y="2500310"/>
                      <a:pt x="1039329" y="2500310"/>
                    </a:cubicBezTo>
                    <a:cubicBezTo>
                      <a:pt x="1024489" y="2500310"/>
                      <a:pt x="1009650" y="2485401"/>
                      <a:pt x="1009650" y="2470493"/>
                    </a:cubicBezTo>
                    <a:cubicBezTo>
                      <a:pt x="1009650" y="2187228"/>
                      <a:pt x="1009650" y="2187228"/>
                      <a:pt x="1009650" y="2187228"/>
                    </a:cubicBezTo>
                    <a:cubicBezTo>
                      <a:pt x="1009650" y="2169337"/>
                      <a:pt x="1024489" y="2157410"/>
                      <a:pt x="1039329" y="2157410"/>
                    </a:cubicBezTo>
                    <a:close/>
                    <a:moveTo>
                      <a:pt x="544167" y="2157410"/>
                    </a:moveTo>
                    <a:cubicBezTo>
                      <a:pt x="827432" y="2157410"/>
                      <a:pt x="827432" y="2157410"/>
                      <a:pt x="827432" y="2157410"/>
                    </a:cubicBezTo>
                    <a:cubicBezTo>
                      <a:pt x="842341" y="2157410"/>
                      <a:pt x="857250" y="2169337"/>
                      <a:pt x="857250" y="2187228"/>
                    </a:cubicBezTo>
                    <a:cubicBezTo>
                      <a:pt x="857250" y="2470493"/>
                      <a:pt x="857250" y="2470493"/>
                      <a:pt x="857250" y="2470493"/>
                    </a:cubicBezTo>
                    <a:cubicBezTo>
                      <a:pt x="857250" y="2485401"/>
                      <a:pt x="842341" y="2500310"/>
                      <a:pt x="827432" y="2500310"/>
                    </a:cubicBezTo>
                    <a:cubicBezTo>
                      <a:pt x="544167" y="2500310"/>
                      <a:pt x="544167" y="2500310"/>
                      <a:pt x="544167" y="2500310"/>
                    </a:cubicBezTo>
                    <a:cubicBezTo>
                      <a:pt x="526277" y="2500310"/>
                      <a:pt x="514350" y="2485401"/>
                      <a:pt x="514350" y="2470493"/>
                    </a:cubicBezTo>
                    <a:cubicBezTo>
                      <a:pt x="514350" y="2187228"/>
                      <a:pt x="514350" y="2187228"/>
                      <a:pt x="514350" y="2187228"/>
                    </a:cubicBezTo>
                    <a:cubicBezTo>
                      <a:pt x="514350" y="2169337"/>
                      <a:pt x="526277" y="2157410"/>
                      <a:pt x="544167" y="2157410"/>
                    </a:cubicBezTo>
                    <a:close/>
                    <a:moveTo>
                      <a:pt x="2274189" y="1470023"/>
                    </a:moveTo>
                    <a:cubicBezTo>
                      <a:pt x="2253298" y="1470023"/>
                      <a:pt x="2238375" y="1484883"/>
                      <a:pt x="2238375" y="1505687"/>
                    </a:cubicBezTo>
                    <a:cubicBezTo>
                      <a:pt x="2238375" y="1505687"/>
                      <a:pt x="2238375" y="1505687"/>
                      <a:pt x="2238375" y="1689948"/>
                    </a:cubicBezTo>
                    <a:cubicBezTo>
                      <a:pt x="2238375" y="1710751"/>
                      <a:pt x="2253298" y="1725611"/>
                      <a:pt x="2274189" y="1725611"/>
                    </a:cubicBezTo>
                    <a:cubicBezTo>
                      <a:pt x="2274189" y="1725611"/>
                      <a:pt x="2274189" y="1725611"/>
                      <a:pt x="2429384" y="1725611"/>
                    </a:cubicBezTo>
                    <a:cubicBezTo>
                      <a:pt x="2444306" y="1725611"/>
                      <a:pt x="2462213" y="1710751"/>
                      <a:pt x="2462213" y="1689948"/>
                    </a:cubicBezTo>
                    <a:cubicBezTo>
                      <a:pt x="2462213" y="1669144"/>
                      <a:pt x="2444306" y="1654284"/>
                      <a:pt x="2429384" y="1654284"/>
                    </a:cubicBezTo>
                    <a:cubicBezTo>
                      <a:pt x="2429384" y="1654284"/>
                      <a:pt x="2429384" y="1654284"/>
                      <a:pt x="2310003" y="1654284"/>
                    </a:cubicBezTo>
                    <a:cubicBezTo>
                      <a:pt x="2310003" y="1654284"/>
                      <a:pt x="2310003" y="1654284"/>
                      <a:pt x="2310003" y="1505687"/>
                    </a:cubicBezTo>
                    <a:cubicBezTo>
                      <a:pt x="2310003" y="1484883"/>
                      <a:pt x="2295081" y="1470023"/>
                      <a:pt x="2274189" y="1470023"/>
                    </a:cubicBezTo>
                    <a:close/>
                    <a:moveTo>
                      <a:pt x="2286000" y="1389060"/>
                    </a:moveTo>
                    <a:cubicBezTo>
                      <a:pt x="2443815" y="1389060"/>
                      <a:pt x="2571750" y="1518416"/>
                      <a:pt x="2571750" y="1677985"/>
                    </a:cubicBezTo>
                    <a:cubicBezTo>
                      <a:pt x="2571750" y="1837554"/>
                      <a:pt x="2443815" y="1966910"/>
                      <a:pt x="2286000" y="1966910"/>
                    </a:cubicBezTo>
                    <a:cubicBezTo>
                      <a:pt x="2128185" y="1966910"/>
                      <a:pt x="2000250" y="1837554"/>
                      <a:pt x="2000250" y="1677985"/>
                    </a:cubicBezTo>
                    <a:cubicBezTo>
                      <a:pt x="2000250" y="1518416"/>
                      <a:pt x="2128185" y="1389060"/>
                      <a:pt x="2286000" y="1389060"/>
                    </a:cubicBezTo>
                    <a:close/>
                    <a:moveTo>
                      <a:pt x="2232618" y="0"/>
                    </a:moveTo>
                    <a:cubicBezTo>
                      <a:pt x="2232618" y="0"/>
                      <a:pt x="2232618" y="0"/>
                      <a:pt x="2327848" y="0"/>
                    </a:cubicBezTo>
                    <a:cubicBezTo>
                      <a:pt x="2327848" y="0"/>
                      <a:pt x="2327848" y="0"/>
                      <a:pt x="3119444" y="0"/>
                    </a:cubicBezTo>
                    <a:cubicBezTo>
                      <a:pt x="3134323" y="0"/>
                      <a:pt x="3143251" y="17832"/>
                      <a:pt x="3131348" y="29720"/>
                    </a:cubicBezTo>
                    <a:cubicBezTo>
                      <a:pt x="3131348" y="29720"/>
                      <a:pt x="3131348" y="29720"/>
                      <a:pt x="2928985" y="231817"/>
                    </a:cubicBezTo>
                    <a:cubicBezTo>
                      <a:pt x="2923033" y="237761"/>
                      <a:pt x="2923033" y="249649"/>
                      <a:pt x="2928985" y="255593"/>
                    </a:cubicBezTo>
                    <a:cubicBezTo>
                      <a:pt x="2928985" y="255593"/>
                      <a:pt x="2928985" y="255593"/>
                      <a:pt x="3131348" y="457689"/>
                    </a:cubicBezTo>
                    <a:cubicBezTo>
                      <a:pt x="3143251" y="469577"/>
                      <a:pt x="3134323" y="487409"/>
                      <a:pt x="3119444" y="487409"/>
                    </a:cubicBezTo>
                    <a:cubicBezTo>
                      <a:pt x="3119444" y="487409"/>
                      <a:pt x="3119444" y="487409"/>
                      <a:pt x="2360583" y="487409"/>
                    </a:cubicBezTo>
                    <a:cubicBezTo>
                      <a:pt x="2351655" y="487409"/>
                      <a:pt x="2345703" y="493353"/>
                      <a:pt x="2345703" y="502270"/>
                    </a:cubicBezTo>
                    <a:cubicBezTo>
                      <a:pt x="2345703" y="502270"/>
                      <a:pt x="2345703" y="502270"/>
                      <a:pt x="2345703" y="894575"/>
                    </a:cubicBezTo>
                    <a:cubicBezTo>
                      <a:pt x="2345703" y="894575"/>
                      <a:pt x="2345703" y="894575"/>
                      <a:pt x="2324872" y="879715"/>
                    </a:cubicBezTo>
                    <a:cubicBezTo>
                      <a:pt x="2304040" y="861883"/>
                      <a:pt x="2271305" y="861883"/>
                      <a:pt x="2250473" y="879715"/>
                    </a:cubicBezTo>
                    <a:cubicBezTo>
                      <a:pt x="2250473" y="879715"/>
                      <a:pt x="2250473" y="879715"/>
                      <a:pt x="2217738" y="906463"/>
                    </a:cubicBezTo>
                    <a:cubicBezTo>
                      <a:pt x="2217738" y="906463"/>
                      <a:pt x="2217738" y="906463"/>
                      <a:pt x="2217738" y="487409"/>
                    </a:cubicBezTo>
                    <a:cubicBezTo>
                      <a:pt x="2217738" y="487409"/>
                      <a:pt x="2217738" y="487409"/>
                      <a:pt x="2217738" y="17832"/>
                    </a:cubicBezTo>
                    <a:cubicBezTo>
                      <a:pt x="2217738" y="8916"/>
                      <a:pt x="2223690" y="0"/>
                      <a:pt x="2232618" y="0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1" dirty="0">
                  <a:latin typeface="PT Sans Caption"/>
                </a:endParaRPr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389626" y="3034438"/>
                <a:ext cx="1412748" cy="1014830"/>
              </a:xfrm>
              <a:custGeom>
                <a:avLst/>
                <a:gdLst>
                  <a:gd name="connsiteX0" fmla="*/ 65471 w 5886450"/>
                  <a:gd name="connsiteY0" fmla="*/ 3918893 h 4228456"/>
                  <a:gd name="connsiteX1" fmla="*/ 5820979 w 5886450"/>
                  <a:gd name="connsiteY1" fmla="*/ 3918893 h 4228456"/>
                  <a:gd name="connsiteX2" fmla="*/ 5886450 w 5886450"/>
                  <a:gd name="connsiteY2" fmla="*/ 3984378 h 4228456"/>
                  <a:gd name="connsiteX3" fmla="*/ 5886450 w 5886450"/>
                  <a:gd name="connsiteY3" fmla="*/ 4162972 h 4228456"/>
                  <a:gd name="connsiteX4" fmla="*/ 5820979 w 5886450"/>
                  <a:gd name="connsiteY4" fmla="*/ 4228456 h 4228456"/>
                  <a:gd name="connsiteX5" fmla="*/ 65471 w 5886450"/>
                  <a:gd name="connsiteY5" fmla="*/ 4228456 h 4228456"/>
                  <a:gd name="connsiteX6" fmla="*/ 0 w 5886450"/>
                  <a:gd name="connsiteY6" fmla="*/ 4162972 h 4228456"/>
                  <a:gd name="connsiteX7" fmla="*/ 0 w 5886450"/>
                  <a:gd name="connsiteY7" fmla="*/ 3984378 h 4228456"/>
                  <a:gd name="connsiteX8" fmla="*/ 65471 w 5886450"/>
                  <a:gd name="connsiteY8" fmla="*/ 3918893 h 4228456"/>
                  <a:gd name="connsiteX9" fmla="*/ 2931122 w 5886450"/>
                  <a:gd name="connsiteY9" fmla="*/ 137468 h 4228456"/>
                  <a:gd name="connsiteX10" fmla="*/ 1020597 w 5886450"/>
                  <a:gd name="connsiteY10" fmla="*/ 1087152 h 4228456"/>
                  <a:gd name="connsiteX11" fmla="*/ 1020597 w 5886450"/>
                  <a:gd name="connsiteY11" fmla="*/ 2033858 h 4228456"/>
                  <a:gd name="connsiteX12" fmla="*/ 282575 w 5886450"/>
                  <a:gd name="connsiteY12" fmla="*/ 2033858 h 4228456"/>
                  <a:gd name="connsiteX13" fmla="*/ 282575 w 5886450"/>
                  <a:gd name="connsiteY13" fmla="*/ 3671243 h 4228456"/>
                  <a:gd name="connsiteX14" fmla="*/ 5597525 w 5886450"/>
                  <a:gd name="connsiteY14" fmla="*/ 3671243 h 4228456"/>
                  <a:gd name="connsiteX15" fmla="*/ 5597525 w 5886450"/>
                  <a:gd name="connsiteY15" fmla="*/ 2033858 h 4228456"/>
                  <a:gd name="connsiteX16" fmla="*/ 4859503 w 5886450"/>
                  <a:gd name="connsiteY16" fmla="*/ 2033858 h 4228456"/>
                  <a:gd name="connsiteX17" fmla="*/ 4859503 w 5886450"/>
                  <a:gd name="connsiteY17" fmla="*/ 1087152 h 4228456"/>
                  <a:gd name="connsiteX18" fmla="*/ 2931122 w 5886450"/>
                  <a:gd name="connsiteY18" fmla="*/ 137468 h 4228456"/>
                  <a:gd name="connsiteX19" fmla="*/ 2932609 w 5886450"/>
                  <a:gd name="connsiteY19" fmla="*/ 0 h 4228456"/>
                  <a:gd name="connsiteX20" fmla="*/ 2960888 w 5886450"/>
                  <a:gd name="connsiteY20" fmla="*/ 6697 h 4228456"/>
                  <a:gd name="connsiteX21" fmla="*/ 4913652 w 5886450"/>
                  <a:gd name="connsiteY21" fmla="*/ 965050 h 4228456"/>
                  <a:gd name="connsiteX22" fmla="*/ 4916629 w 5886450"/>
                  <a:gd name="connsiteY22" fmla="*/ 968026 h 4228456"/>
                  <a:gd name="connsiteX23" fmla="*/ 4991048 w 5886450"/>
                  <a:gd name="connsiteY23" fmla="*/ 1087076 h 4228456"/>
                  <a:gd name="connsiteX24" fmla="*/ 4991048 w 5886450"/>
                  <a:gd name="connsiteY24" fmla="*/ 1902569 h 4228456"/>
                  <a:gd name="connsiteX25" fmla="*/ 5598310 w 5886450"/>
                  <a:gd name="connsiteY25" fmla="*/ 1902569 h 4228456"/>
                  <a:gd name="connsiteX26" fmla="*/ 5729288 w 5886450"/>
                  <a:gd name="connsiteY26" fmla="*/ 2033525 h 4228456"/>
                  <a:gd name="connsiteX27" fmla="*/ 5729288 w 5886450"/>
                  <a:gd name="connsiteY27" fmla="*/ 3670463 h 4228456"/>
                  <a:gd name="connsiteX28" fmla="*/ 5598310 w 5886450"/>
                  <a:gd name="connsiteY28" fmla="*/ 3801418 h 4228456"/>
                  <a:gd name="connsiteX29" fmla="*/ 281791 w 5886450"/>
                  <a:gd name="connsiteY29" fmla="*/ 3801418 h 4228456"/>
                  <a:gd name="connsiteX30" fmla="*/ 150813 w 5886450"/>
                  <a:gd name="connsiteY30" fmla="*/ 3670463 h 4228456"/>
                  <a:gd name="connsiteX31" fmla="*/ 150813 w 5886450"/>
                  <a:gd name="connsiteY31" fmla="*/ 2033525 h 4228456"/>
                  <a:gd name="connsiteX32" fmla="*/ 281791 w 5886450"/>
                  <a:gd name="connsiteY32" fmla="*/ 1902569 h 4228456"/>
                  <a:gd name="connsiteX33" fmla="*/ 889053 w 5886450"/>
                  <a:gd name="connsiteY33" fmla="*/ 1902569 h 4228456"/>
                  <a:gd name="connsiteX34" fmla="*/ 889053 w 5886450"/>
                  <a:gd name="connsiteY34" fmla="*/ 1087076 h 4228456"/>
                  <a:gd name="connsiteX35" fmla="*/ 963473 w 5886450"/>
                  <a:gd name="connsiteY35" fmla="*/ 968026 h 4228456"/>
                  <a:gd name="connsiteX36" fmla="*/ 966449 w 5886450"/>
                  <a:gd name="connsiteY36" fmla="*/ 968026 h 4228456"/>
                  <a:gd name="connsiteX37" fmla="*/ 2904329 w 5886450"/>
                  <a:gd name="connsiteY37" fmla="*/ 6697 h 4228456"/>
                  <a:gd name="connsiteX38" fmla="*/ 2932609 w 5886450"/>
                  <a:gd name="connsiteY38" fmla="*/ 0 h 422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886450" h="4228456">
                    <a:moveTo>
                      <a:pt x="65471" y="3918893"/>
                    </a:moveTo>
                    <a:cubicBezTo>
                      <a:pt x="5820979" y="3918893"/>
                      <a:pt x="5820979" y="3918893"/>
                      <a:pt x="5820979" y="3918893"/>
                    </a:cubicBezTo>
                    <a:cubicBezTo>
                      <a:pt x="5856691" y="3918893"/>
                      <a:pt x="5886450" y="3945682"/>
                      <a:pt x="5886450" y="3984378"/>
                    </a:cubicBezTo>
                    <a:cubicBezTo>
                      <a:pt x="5886450" y="4162972"/>
                      <a:pt x="5886450" y="4162972"/>
                      <a:pt x="5886450" y="4162972"/>
                    </a:cubicBezTo>
                    <a:cubicBezTo>
                      <a:pt x="5886450" y="4198691"/>
                      <a:pt x="5856691" y="4228456"/>
                      <a:pt x="5820979" y="4228456"/>
                    </a:cubicBezTo>
                    <a:cubicBezTo>
                      <a:pt x="65471" y="4228456"/>
                      <a:pt x="65471" y="4228456"/>
                      <a:pt x="65471" y="4228456"/>
                    </a:cubicBezTo>
                    <a:cubicBezTo>
                      <a:pt x="29760" y="4228456"/>
                      <a:pt x="0" y="4198691"/>
                      <a:pt x="0" y="4162972"/>
                    </a:cubicBezTo>
                    <a:cubicBezTo>
                      <a:pt x="0" y="3984378"/>
                      <a:pt x="0" y="3984378"/>
                      <a:pt x="0" y="3984378"/>
                    </a:cubicBezTo>
                    <a:cubicBezTo>
                      <a:pt x="0" y="3945682"/>
                      <a:pt x="29760" y="3918893"/>
                      <a:pt x="65471" y="3918893"/>
                    </a:cubicBezTo>
                    <a:close/>
                    <a:moveTo>
                      <a:pt x="2931122" y="137468"/>
                    </a:moveTo>
                    <a:cubicBezTo>
                      <a:pt x="2931122" y="137468"/>
                      <a:pt x="2931122" y="137468"/>
                      <a:pt x="1020597" y="1087152"/>
                    </a:cubicBezTo>
                    <a:cubicBezTo>
                      <a:pt x="1020597" y="1087152"/>
                      <a:pt x="1020597" y="1087152"/>
                      <a:pt x="1020597" y="2033858"/>
                    </a:cubicBezTo>
                    <a:cubicBezTo>
                      <a:pt x="1020597" y="2033858"/>
                      <a:pt x="1020597" y="2033858"/>
                      <a:pt x="282575" y="2033858"/>
                    </a:cubicBezTo>
                    <a:cubicBezTo>
                      <a:pt x="282575" y="2033858"/>
                      <a:pt x="282575" y="2033858"/>
                      <a:pt x="282575" y="3671243"/>
                    </a:cubicBezTo>
                    <a:cubicBezTo>
                      <a:pt x="282575" y="3671243"/>
                      <a:pt x="282575" y="3671243"/>
                      <a:pt x="5597525" y="3671243"/>
                    </a:cubicBezTo>
                    <a:cubicBezTo>
                      <a:pt x="5597525" y="3671243"/>
                      <a:pt x="5597525" y="3671243"/>
                      <a:pt x="5597525" y="2033858"/>
                    </a:cubicBezTo>
                    <a:cubicBezTo>
                      <a:pt x="5597525" y="2033858"/>
                      <a:pt x="5597525" y="2033858"/>
                      <a:pt x="4859503" y="2033858"/>
                    </a:cubicBezTo>
                    <a:cubicBezTo>
                      <a:pt x="4859503" y="2033858"/>
                      <a:pt x="4859503" y="2033858"/>
                      <a:pt x="4859503" y="1087152"/>
                    </a:cubicBezTo>
                    <a:cubicBezTo>
                      <a:pt x="4859503" y="1087152"/>
                      <a:pt x="4859503" y="1087152"/>
                      <a:pt x="2931122" y="137468"/>
                    </a:cubicBezTo>
                    <a:close/>
                    <a:moveTo>
                      <a:pt x="2932609" y="0"/>
                    </a:moveTo>
                    <a:cubicBezTo>
                      <a:pt x="2942283" y="0"/>
                      <a:pt x="2951958" y="2232"/>
                      <a:pt x="2960888" y="6697"/>
                    </a:cubicBezTo>
                    <a:cubicBezTo>
                      <a:pt x="2960888" y="6697"/>
                      <a:pt x="2960888" y="6697"/>
                      <a:pt x="4913652" y="965050"/>
                    </a:cubicBezTo>
                    <a:cubicBezTo>
                      <a:pt x="4913652" y="965050"/>
                      <a:pt x="4913652" y="965050"/>
                      <a:pt x="4916629" y="968026"/>
                    </a:cubicBezTo>
                    <a:cubicBezTo>
                      <a:pt x="4961280" y="988860"/>
                      <a:pt x="4991048" y="1033504"/>
                      <a:pt x="4991048" y="1087076"/>
                    </a:cubicBezTo>
                    <a:cubicBezTo>
                      <a:pt x="4991048" y="1087076"/>
                      <a:pt x="4991048" y="1087076"/>
                      <a:pt x="4991048" y="1902569"/>
                    </a:cubicBezTo>
                    <a:cubicBezTo>
                      <a:pt x="4991048" y="1902569"/>
                      <a:pt x="4991048" y="1902569"/>
                      <a:pt x="5598310" y="1902569"/>
                    </a:cubicBezTo>
                    <a:cubicBezTo>
                      <a:pt x="5669753" y="1902569"/>
                      <a:pt x="5729288" y="1962094"/>
                      <a:pt x="5729288" y="2033525"/>
                    </a:cubicBezTo>
                    <a:cubicBezTo>
                      <a:pt x="5729288" y="2033525"/>
                      <a:pt x="5729288" y="2033525"/>
                      <a:pt x="5729288" y="3670463"/>
                    </a:cubicBezTo>
                    <a:cubicBezTo>
                      <a:pt x="5729288" y="3741893"/>
                      <a:pt x="5669753" y="3801418"/>
                      <a:pt x="5598310" y="3801418"/>
                    </a:cubicBezTo>
                    <a:cubicBezTo>
                      <a:pt x="5598310" y="3801418"/>
                      <a:pt x="5598310" y="3801418"/>
                      <a:pt x="281791" y="3801418"/>
                    </a:cubicBezTo>
                    <a:cubicBezTo>
                      <a:pt x="210349" y="3801418"/>
                      <a:pt x="150813" y="3741893"/>
                      <a:pt x="150813" y="3670463"/>
                    </a:cubicBezTo>
                    <a:cubicBezTo>
                      <a:pt x="150813" y="3670463"/>
                      <a:pt x="150813" y="3670463"/>
                      <a:pt x="150813" y="2033525"/>
                    </a:cubicBezTo>
                    <a:cubicBezTo>
                      <a:pt x="150813" y="1962094"/>
                      <a:pt x="210349" y="1902569"/>
                      <a:pt x="281791" y="1902569"/>
                    </a:cubicBezTo>
                    <a:cubicBezTo>
                      <a:pt x="281791" y="1902569"/>
                      <a:pt x="281791" y="1902569"/>
                      <a:pt x="889053" y="1902569"/>
                    </a:cubicBezTo>
                    <a:cubicBezTo>
                      <a:pt x="889053" y="1902569"/>
                      <a:pt x="889053" y="1902569"/>
                      <a:pt x="889053" y="1087076"/>
                    </a:cubicBezTo>
                    <a:cubicBezTo>
                      <a:pt x="889053" y="1033504"/>
                      <a:pt x="918821" y="988860"/>
                      <a:pt x="963473" y="968026"/>
                    </a:cubicBezTo>
                    <a:cubicBezTo>
                      <a:pt x="963473" y="968026"/>
                      <a:pt x="963473" y="968026"/>
                      <a:pt x="966449" y="968026"/>
                    </a:cubicBezTo>
                    <a:cubicBezTo>
                      <a:pt x="966449" y="968026"/>
                      <a:pt x="966449" y="968026"/>
                      <a:pt x="2904329" y="6697"/>
                    </a:cubicBezTo>
                    <a:cubicBezTo>
                      <a:pt x="2913260" y="2232"/>
                      <a:pt x="2922934" y="0"/>
                      <a:pt x="2932609" y="0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1" dirty="0">
                  <a:latin typeface="PT Sans Caption"/>
                </a:endParaRPr>
              </a:p>
            </p:txBody>
          </p:sp>
        </p:grpSp>
      </p:grpSp>
      <p:sp>
        <p:nvSpPr>
          <p:cNvPr id="25" name="TextBox 24"/>
          <p:cNvSpPr txBox="1"/>
          <p:nvPr/>
        </p:nvSpPr>
        <p:spPr>
          <a:xfrm>
            <a:off x="660910" y="4537544"/>
            <a:ext cx="3544938" cy="1585049"/>
          </a:xfrm>
          <a:prstGeom prst="rect">
            <a:avLst/>
          </a:prstGeom>
          <a:noFill/>
        </p:spPr>
        <p:txBody>
          <a:bodyPr wrap="square" lIns="0" tIns="0" rIns="108000" bIns="0" rtlCol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Повышение конкурентоспособности “белых” участников рынка за счет сокращения доли незаконного оборота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Доступ к данным о движении продукции по логистической цепи в режиме реального времени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28651" y="4359625"/>
            <a:ext cx="2989192" cy="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8504542" y="3417915"/>
            <a:ext cx="3426096" cy="2816156"/>
          </a:xfrm>
          <a:prstGeom prst="rect">
            <a:avLst/>
          </a:prstGeom>
          <a:noFill/>
        </p:spPr>
        <p:txBody>
          <a:bodyPr wrap="square" lIns="0" tIns="0" rIns="108000" bIns="0" rtlCol="0" anchor="t" anchorCtr="0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Сокращение нелегального оборота товаров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Повышение собираемости таможенных и налоговых, в т.ч. акцизных платежей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Повышение прозрачности товарных рынков и качества инструментов государственного контроля, в т.ч. экономия затрат бюджета на контроль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Статистика в масштабе всей страны в режиме реального времени</a:t>
            </a: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8377542" y="3327757"/>
            <a:ext cx="3369450" cy="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552960" y="1506978"/>
            <a:ext cx="2285719" cy="307777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 marL="0" lvl="3">
              <a:buSzPct val="100000"/>
              <a:buFont typeface="Trebuchet MS" panose="020B0603020202020204" pitchFamily="34" charset="0"/>
              <a:buChar char="​"/>
            </a:pPr>
            <a:r>
              <a:rPr lang="ru-RU" sz="2000" b="1" dirty="0">
                <a:solidFill>
                  <a:srgbClr val="595959"/>
                </a:solidFill>
                <a:latin typeface="PT Sans Caption"/>
                <a:ea typeface="Open Sans" panose="020B0606030504020204" pitchFamily="34" charset="0"/>
                <a:cs typeface="Open Sans" panose="020B0606030504020204" pitchFamily="34" charset="0"/>
              </a:rPr>
              <a:t>Потребитель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504542" y="1500698"/>
            <a:ext cx="3150595" cy="1015663"/>
          </a:xfrm>
          <a:prstGeom prst="rect">
            <a:avLst/>
          </a:prstGeom>
          <a:noFill/>
        </p:spPr>
        <p:txBody>
          <a:bodyPr wrap="square" lIns="0" tIns="0" rIns="108000" bIns="0" rtlCol="0" anchor="t" anchorCtr="0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Защита жизни и здоровья граждан</a:t>
            </a:r>
            <a:endParaRPr lang="ru-RU" sz="1600" dirty="0">
              <a:solidFill>
                <a:srgbClr val="575757"/>
              </a:solidFill>
              <a:latin typeface="PT Sans Caption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Общественный контроль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75757"/>
                </a:solidFill>
                <a:latin typeface="PT Sans Caption"/>
                <a:cs typeface="Arial" panose="020B0604020202020204" pitchFamily="34" charset="0"/>
              </a:rPr>
              <a:t>Защита прав потребителей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8364375" y="1500698"/>
            <a:ext cx="0" cy="1015663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hape 250"/>
          <p:cNvSpPr txBox="1"/>
          <p:nvPr/>
        </p:nvSpPr>
        <p:spPr>
          <a:xfrm>
            <a:off x="660910" y="1219073"/>
            <a:ext cx="3637675" cy="2300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888888"/>
                </a:solidFill>
              </a14:hiddenFill>
            </a:ext>
          </a:extLst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9525" algn="ctr">
              <a:buClr>
                <a:schemeClr val="dk1"/>
              </a:buClr>
              <a:buSzPts val="1100"/>
            </a:pPr>
            <a:r>
              <a:rPr lang="ru-RU" sz="2000" b="1" dirty="0">
                <a:solidFill>
                  <a:srgbClr val="595959"/>
                </a:solidFill>
                <a:latin typeface="PT Sans Caption"/>
                <a:ea typeface="Roboto"/>
                <a:cs typeface="Roboto"/>
                <a:sym typeface="Roboto"/>
              </a:rPr>
              <a:t>Цифровая платформа</a:t>
            </a:r>
            <a:endParaRPr sz="2000" b="1" dirty="0">
              <a:solidFill>
                <a:srgbClr val="595959"/>
              </a:solidFill>
              <a:latin typeface="PT Sans Caption"/>
              <a:ea typeface="Roboto"/>
              <a:cs typeface="Roboto"/>
              <a:sym typeface="Roboto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Сервис и услуги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/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лизинг, факторинг, страхование и т.д.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Открытые данные и интерфейсы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/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оценка рисков, проверка контрагентов,</a:t>
            </a:r>
            <a:r>
              <a:rPr lang="ru-RU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 </a:t>
            </a:r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мониторинг рынка и т.д.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Новые возможности для бизнеса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/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подключение финансовых, транспортных, страховых, сервисных компаний и их услуг</a:t>
            </a:r>
            <a:r>
              <a:rPr lang="ru-RU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 algn="r">
              <a:buFont typeface="Arial" panose="020B0604020202020204" pitchFamily="34" charset="0"/>
              <a:buChar char="•"/>
            </a:pPr>
            <a:endParaRPr sz="11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>
            <a:off x="6086061" y="2853924"/>
            <a:ext cx="10614" cy="563002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5088835" y="4033271"/>
            <a:ext cx="520147" cy="357443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/>
          <p:nvPr/>
        </p:nvCxnSpPr>
        <p:spPr>
          <a:xfrm rot="10800000">
            <a:off x="2510677" y="3460209"/>
            <a:ext cx="3128123" cy="208240"/>
          </a:xfrm>
          <a:prstGeom prst="bentConnector2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602897" y="4033271"/>
            <a:ext cx="520147" cy="357443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xmlns="" id="{8CB96228-1BEB-4483-88FD-7A77DCA24393}"/>
              </a:ext>
            </a:extLst>
          </p:cNvPr>
          <p:cNvSpPr txBox="1">
            <a:spLocks/>
          </p:cNvSpPr>
          <p:nvPr/>
        </p:nvSpPr>
        <p:spPr>
          <a:xfrm>
            <a:off x="630001" y="251325"/>
            <a:ext cx="10499962" cy="598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39852"/>
            <a:r>
              <a:rPr lang="ru-RU" sz="2162" b="1" dirty="0">
                <a:latin typeface="PT Sans Caption"/>
                <a:sym typeface="+mj-lt"/>
              </a:rPr>
              <a:t>Цели и задачи создания системы маркировки</a:t>
            </a:r>
          </a:p>
          <a:p>
            <a:pPr defTabSz="839852"/>
            <a:r>
              <a:rPr lang="ru-RU" sz="2162" b="1" dirty="0">
                <a:latin typeface="PT Sans Caption"/>
                <a:sym typeface="+mj-lt"/>
              </a:rPr>
              <a:t>и прослеживаемости товаров</a:t>
            </a:r>
            <a:endParaRPr lang="en-US" sz="2162" b="1" dirty="0">
              <a:latin typeface="PT Sans Caption"/>
              <a:sym typeface="+mj-lt"/>
            </a:endParaRPr>
          </a:p>
        </p:txBody>
      </p:sp>
      <p:pic>
        <p:nvPicPr>
          <p:cNvPr id="46" name="Shape 247">
            <a:extLst>
              <a:ext uri="{FF2B5EF4-FFF2-40B4-BE49-F238E27FC236}">
                <a16:creationId xmlns:a16="http://schemas.microsoft.com/office/drawing/2014/main" xmlns="" id="{2CC2B08A-3776-49D0-9872-CC68501DF7CB}"/>
              </a:ext>
            </a:extLst>
          </p:cNvPr>
          <p:cNvPicPr preferRelativeResize="0"/>
          <p:nvPr/>
        </p:nvPicPr>
        <p:blipFill rotWithShape="1">
          <a:blip r:embed="rId8">
            <a:alphaModFix/>
            <a:grayscl/>
          </a:blip>
          <a:srcRect l="42205" t="49494" r="44764" b="24172"/>
          <a:stretch/>
        </p:blipFill>
        <p:spPr>
          <a:xfrm>
            <a:off x="5575467" y="3507359"/>
            <a:ext cx="1042416" cy="10440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927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Object 1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9" name="Object 14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Freeform 64"/>
          <p:cNvSpPr/>
          <p:nvPr/>
        </p:nvSpPr>
        <p:spPr>
          <a:xfrm>
            <a:off x="4023222" y="2430266"/>
            <a:ext cx="2620879" cy="884925"/>
          </a:xfrm>
          <a:custGeom>
            <a:avLst/>
            <a:gdLst>
              <a:gd name="connsiteX0" fmla="*/ 0 w 2451100"/>
              <a:gd name="connsiteY0" fmla="*/ 304800 h 850900"/>
              <a:gd name="connsiteX1" fmla="*/ 965200 w 2451100"/>
              <a:gd name="connsiteY1" fmla="*/ 850900 h 850900"/>
              <a:gd name="connsiteX2" fmla="*/ 2451100 w 2451100"/>
              <a:gd name="connsiteY2" fmla="*/ 0 h 850900"/>
              <a:gd name="connsiteX0" fmla="*/ 0 w 2679700"/>
              <a:gd name="connsiteY0" fmla="*/ 464820 h 1010920"/>
              <a:gd name="connsiteX1" fmla="*/ 965200 w 2679700"/>
              <a:gd name="connsiteY1" fmla="*/ 1010920 h 1010920"/>
              <a:gd name="connsiteX2" fmla="*/ 2679700 w 2679700"/>
              <a:gd name="connsiteY2" fmla="*/ 0 h 101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9700" h="1010920">
                <a:moveTo>
                  <a:pt x="0" y="464820"/>
                </a:moveTo>
                <a:lnTo>
                  <a:pt x="965200" y="1010920"/>
                </a:lnTo>
                <a:lnTo>
                  <a:pt x="2679700" y="0"/>
                </a:lnTo>
              </a:path>
            </a:pathLst>
          </a:custGeom>
          <a:noFill/>
          <a:ln w="9525" cap="rnd" cmpd="sng" algn="ctr">
            <a:solidFill>
              <a:srgbClr val="686F6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 dirty="0"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34438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 магазине сканируют код товара и размещают его на полк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386657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Товар продали на кассе в системе “код вышел из оборота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82219" y="5612442"/>
            <a:ext cx="1927347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есь путь товара фиксируется на каждом этап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5612442"/>
            <a:ext cx="1927347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Производитель наносит цифровой код на товар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638877" y="5612442"/>
            <a:ext cx="1927347" cy="369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bg-BG" sz="1200" dirty="0">
                <a:latin typeface="PT Sans Caption" panose="020B0603020203020204" pitchFamily="34" charset="0"/>
                <a:sym typeface="PT Sans Caption" panose="020B0603020203020204" pitchFamily="34" charset="0"/>
              </a:rPr>
              <a:t>Вся правда о товаре в мобильном приложении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3282067" y="4369318"/>
            <a:ext cx="1127654" cy="1127656"/>
            <a:chOff x="3174113" y="4234235"/>
            <a:chExt cx="1127654" cy="1127656"/>
          </a:xfrm>
        </p:grpSpPr>
        <p:sp>
          <p:nvSpPr>
            <p:cNvPr id="7" name="Oval 6"/>
            <p:cNvSpPr/>
            <p:nvPr/>
          </p:nvSpPr>
          <p:spPr>
            <a:xfrm>
              <a:off x="317411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3" name="bcgIcons_LargeTruck">
              <a:extLst>
                <a:ext uri="{FF2B5EF4-FFF2-40B4-BE49-F238E27FC236}">
                  <a16:creationId xmlns:a16="http://schemas.microsoft.com/office/drawing/2014/main" xmlns="" id="{BF4B8ACE-C65D-4D32-8A49-32EA8B16FE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326840" y="4386583"/>
              <a:ext cx="822200" cy="822960"/>
              <a:chOff x="1682" y="0"/>
              <a:chExt cx="4316" cy="4320"/>
            </a:xfrm>
          </p:grpSpPr>
          <p:sp>
            <p:nvSpPr>
              <p:cNvPr id="14" name="AutoShape 19">
                <a:extLst>
                  <a:ext uri="{FF2B5EF4-FFF2-40B4-BE49-F238E27FC236}">
                    <a16:creationId xmlns:a16="http://schemas.microsoft.com/office/drawing/2014/main" xmlns="" id="{87A709C4-C460-42AC-8D6F-850C534249C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5" name="Freeform 21">
                <a:extLst>
                  <a:ext uri="{FF2B5EF4-FFF2-40B4-BE49-F238E27FC236}">
                    <a16:creationId xmlns:a16="http://schemas.microsoft.com/office/drawing/2014/main" xmlns="" id="{5B97506B-F2E5-432C-AC70-CC2D99DA3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62" y="1588"/>
                <a:ext cx="3562" cy="1601"/>
              </a:xfrm>
              <a:custGeom>
                <a:avLst/>
                <a:gdLst>
                  <a:gd name="T0" fmla="*/ 1902 w 1902"/>
                  <a:gd name="T1" fmla="*/ 325 h 854"/>
                  <a:gd name="T2" fmla="*/ 1902 w 1902"/>
                  <a:gd name="T3" fmla="*/ 645 h 854"/>
                  <a:gd name="T4" fmla="*/ 1879 w 1902"/>
                  <a:gd name="T5" fmla="*/ 667 h 854"/>
                  <a:gd name="T6" fmla="*/ 1741 w 1902"/>
                  <a:gd name="T7" fmla="*/ 667 h 854"/>
                  <a:gd name="T8" fmla="*/ 1723 w 1902"/>
                  <a:gd name="T9" fmla="*/ 623 h 854"/>
                  <a:gd name="T10" fmla="*/ 1858 w 1902"/>
                  <a:gd name="T11" fmla="*/ 623 h 854"/>
                  <a:gd name="T12" fmla="*/ 1858 w 1902"/>
                  <a:gd name="T13" fmla="*/ 338 h 854"/>
                  <a:gd name="T14" fmla="*/ 1664 w 1902"/>
                  <a:gd name="T15" fmla="*/ 44 h 854"/>
                  <a:gd name="T16" fmla="*/ 1325 w 1902"/>
                  <a:gd name="T17" fmla="*/ 44 h 854"/>
                  <a:gd name="T18" fmla="*/ 1325 w 1902"/>
                  <a:gd name="T19" fmla="*/ 623 h 854"/>
                  <a:gd name="T20" fmla="*/ 1405 w 1902"/>
                  <a:gd name="T21" fmla="*/ 623 h 854"/>
                  <a:gd name="T22" fmla="*/ 1387 w 1902"/>
                  <a:gd name="T23" fmla="*/ 667 h 854"/>
                  <a:gd name="T24" fmla="*/ 1303 w 1902"/>
                  <a:gd name="T25" fmla="*/ 667 h 854"/>
                  <a:gd name="T26" fmla="*/ 1281 w 1902"/>
                  <a:gd name="T27" fmla="*/ 645 h 854"/>
                  <a:gd name="T28" fmla="*/ 1281 w 1902"/>
                  <a:gd name="T29" fmla="*/ 21 h 854"/>
                  <a:gd name="T30" fmla="*/ 1303 w 1902"/>
                  <a:gd name="T31" fmla="*/ 0 h 854"/>
                  <a:gd name="T32" fmla="*/ 1688 w 1902"/>
                  <a:gd name="T33" fmla="*/ 0 h 854"/>
                  <a:gd name="T34" fmla="*/ 1902 w 1902"/>
                  <a:gd name="T35" fmla="*/ 325 h 854"/>
                  <a:gd name="T36" fmla="*/ 1705 w 1902"/>
                  <a:gd name="T37" fmla="*/ 713 h 854"/>
                  <a:gd name="T38" fmla="*/ 1564 w 1902"/>
                  <a:gd name="T39" fmla="*/ 572 h 854"/>
                  <a:gd name="T40" fmla="*/ 1423 w 1902"/>
                  <a:gd name="T41" fmla="*/ 713 h 854"/>
                  <a:gd name="T42" fmla="*/ 1569 w 1902"/>
                  <a:gd name="T43" fmla="*/ 854 h 854"/>
                  <a:gd name="T44" fmla="*/ 1705 w 1902"/>
                  <a:gd name="T45" fmla="*/ 713 h 854"/>
                  <a:gd name="T46" fmla="*/ 1657 w 1902"/>
                  <a:gd name="T47" fmla="*/ 713 h 854"/>
                  <a:gd name="T48" fmla="*/ 1564 w 1902"/>
                  <a:gd name="T49" fmla="*/ 806 h 854"/>
                  <a:gd name="T50" fmla="*/ 1472 w 1902"/>
                  <a:gd name="T51" fmla="*/ 713 h 854"/>
                  <a:gd name="T52" fmla="*/ 1564 w 1902"/>
                  <a:gd name="T53" fmla="*/ 620 h 854"/>
                  <a:gd name="T54" fmla="*/ 1657 w 1902"/>
                  <a:gd name="T55" fmla="*/ 713 h 854"/>
                  <a:gd name="T56" fmla="*/ 403 w 1902"/>
                  <a:gd name="T57" fmla="*/ 713 h 854"/>
                  <a:gd name="T58" fmla="*/ 262 w 1902"/>
                  <a:gd name="T59" fmla="*/ 572 h 854"/>
                  <a:gd name="T60" fmla="*/ 121 w 1902"/>
                  <a:gd name="T61" fmla="*/ 713 h 854"/>
                  <a:gd name="T62" fmla="*/ 267 w 1902"/>
                  <a:gd name="T63" fmla="*/ 854 h 854"/>
                  <a:gd name="T64" fmla="*/ 403 w 1902"/>
                  <a:gd name="T65" fmla="*/ 713 h 854"/>
                  <a:gd name="T66" fmla="*/ 354 w 1902"/>
                  <a:gd name="T67" fmla="*/ 713 h 854"/>
                  <a:gd name="T68" fmla="*/ 262 w 1902"/>
                  <a:gd name="T69" fmla="*/ 806 h 854"/>
                  <a:gd name="T70" fmla="*/ 169 w 1902"/>
                  <a:gd name="T71" fmla="*/ 713 h 854"/>
                  <a:gd name="T72" fmla="*/ 262 w 1902"/>
                  <a:gd name="T73" fmla="*/ 620 h 854"/>
                  <a:gd name="T74" fmla="*/ 354 w 1902"/>
                  <a:gd name="T75" fmla="*/ 713 h 854"/>
                  <a:gd name="T76" fmla="*/ 1227 w 1902"/>
                  <a:gd name="T77" fmla="*/ 468 h 854"/>
                  <a:gd name="T78" fmla="*/ 21 w 1902"/>
                  <a:gd name="T79" fmla="*/ 468 h 854"/>
                  <a:gd name="T80" fmla="*/ 0 w 1902"/>
                  <a:gd name="T81" fmla="*/ 489 h 854"/>
                  <a:gd name="T82" fmla="*/ 0 w 1902"/>
                  <a:gd name="T83" fmla="*/ 646 h 854"/>
                  <a:gd name="T84" fmla="*/ 21 w 1902"/>
                  <a:gd name="T85" fmla="*/ 667 h 854"/>
                  <a:gd name="T86" fmla="*/ 83 w 1902"/>
                  <a:gd name="T87" fmla="*/ 667 h 854"/>
                  <a:gd name="T88" fmla="*/ 262 w 1902"/>
                  <a:gd name="T89" fmla="*/ 528 h 854"/>
                  <a:gd name="T90" fmla="*/ 441 w 1902"/>
                  <a:gd name="T91" fmla="*/ 667 h 854"/>
                  <a:gd name="T92" fmla="*/ 1227 w 1902"/>
                  <a:gd name="T93" fmla="*/ 667 h 854"/>
                  <a:gd name="T94" fmla="*/ 1231 w 1902"/>
                  <a:gd name="T95" fmla="*/ 667 h 854"/>
                  <a:gd name="T96" fmla="*/ 1231 w 1902"/>
                  <a:gd name="T97" fmla="*/ 468 h 854"/>
                  <a:gd name="T98" fmla="*/ 1227 w 1902"/>
                  <a:gd name="T99" fmla="*/ 468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02" h="854">
                    <a:moveTo>
                      <a:pt x="1902" y="325"/>
                    </a:moveTo>
                    <a:cubicBezTo>
                      <a:pt x="1902" y="645"/>
                      <a:pt x="1902" y="645"/>
                      <a:pt x="1902" y="645"/>
                    </a:cubicBezTo>
                    <a:cubicBezTo>
                      <a:pt x="1902" y="657"/>
                      <a:pt x="1892" y="667"/>
                      <a:pt x="1879" y="667"/>
                    </a:cubicBezTo>
                    <a:cubicBezTo>
                      <a:pt x="1741" y="667"/>
                      <a:pt x="1741" y="667"/>
                      <a:pt x="1741" y="667"/>
                    </a:cubicBezTo>
                    <a:cubicBezTo>
                      <a:pt x="1737" y="651"/>
                      <a:pt x="1731" y="637"/>
                      <a:pt x="1723" y="623"/>
                    </a:cubicBezTo>
                    <a:cubicBezTo>
                      <a:pt x="1858" y="623"/>
                      <a:pt x="1858" y="623"/>
                      <a:pt x="1858" y="623"/>
                    </a:cubicBezTo>
                    <a:cubicBezTo>
                      <a:pt x="1858" y="338"/>
                      <a:pt x="1858" y="338"/>
                      <a:pt x="1858" y="338"/>
                    </a:cubicBezTo>
                    <a:cubicBezTo>
                      <a:pt x="1664" y="44"/>
                      <a:pt x="1664" y="44"/>
                      <a:pt x="1664" y="44"/>
                    </a:cubicBezTo>
                    <a:cubicBezTo>
                      <a:pt x="1325" y="44"/>
                      <a:pt x="1325" y="44"/>
                      <a:pt x="1325" y="44"/>
                    </a:cubicBezTo>
                    <a:cubicBezTo>
                      <a:pt x="1325" y="623"/>
                      <a:pt x="1325" y="623"/>
                      <a:pt x="1325" y="623"/>
                    </a:cubicBezTo>
                    <a:cubicBezTo>
                      <a:pt x="1405" y="623"/>
                      <a:pt x="1405" y="623"/>
                      <a:pt x="1405" y="623"/>
                    </a:cubicBezTo>
                    <a:cubicBezTo>
                      <a:pt x="1398" y="637"/>
                      <a:pt x="1391" y="651"/>
                      <a:pt x="1387" y="667"/>
                    </a:cubicBezTo>
                    <a:cubicBezTo>
                      <a:pt x="1303" y="667"/>
                      <a:pt x="1303" y="667"/>
                      <a:pt x="1303" y="667"/>
                    </a:cubicBezTo>
                    <a:cubicBezTo>
                      <a:pt x="1291" y="667"/>
                      <a:pt x="1281" y="657"/>
                      <a:pt x="1281" y="645"/>
                    </a:cubicBezTo>
                    <a:cubicBezTo>
                      <a:pt x="1281" y="21"/>
                      <a:pt x="1281" y="21"/>
                      <a:pt x="1281" y="21"/>
                    </a:cubicBezTo>
                    <a:cubicBezTo>
                      <a:pt x="1281" y="9"/>
                      <a:pt x="1291" y="0"/>
                      <a:pt x="1303" y="0"/>
                    </a:cubicBezTo>
                    <a:cubicBezTo>
                      <a:pt x="1688" y="0"/>
                      <a:pt x="1688" y="0"/>
                      <a:pt x="1688" y="0"/>
                    </a:cubicBezTo>
                    <a:lnTo>
                      <a:pt x="1902" y="325"/>
                    </a:lnTo>
                    <a:close/>
                    <a:moveTo>
                      <a:pt x="1705" y="713"/>
                    </a:moveTo>
                    <a:cubicBezTo>
                      <a:pt x="1705" y="635"/>
                      <a:pt x="1642" y="572"/>
                      <a:pt x="1564" y="572"/>
                    </a:cubicBezTo>
                    <a:cubicBezTo>
                      <a:pt x="1486" y="572"/>
                      <a:pt x="1423" y="635"/>
                      <a:pt x="1423" y="713"/>
                    </a:cubicBezTo>
                    <a:cubicBezTo>
                      <a:pt x="1423" y="791"/>
                      <a:pt x="1491" y="854"/>
                      <a:pt x="1569" y="854"/>
                    </a:cubicBezTo>
                    <a:cubicBezTo>
                      <a:pt x="1647" y="854"/>
                      <a:pt x="1705" y="791"/>
                      <a:pt x="1705" y="713"/>
                    </a:cubicBezTo>
                    <a:close/>
                    <a:moveTo>
                      <a:pt x="1657" y="713"/>
                    </a:moveTo>
                    <a:cubicBezTo>
                      <a:pt x="1657" y="764"/>
                      <a:pt x="1615" y="806"/>
                      <a:pt x="1564" y="806"/>
                    </a:cubicBezTo>
                    <a:cubicBezTo>
                      <a:pt x="1513" y="806"/>
                      <a:pt x="1472" y="764"/>
                      <a:pt x="1472" y="713"/>
                    </a:cubicBezTo>
                    <a:cubicBezTo>
                      <a:pt x="1472" y="662"/>
                      <a:pt x="1513" y="620"/>
                      <a:pt x="1564" y="620"/>
                    </a:cubicBezTo>
                    <a:cubicBezTo>
                      <a:pt x="1615" y="620"/>
                      <a:pt x="1657" y="662"/>
                      <a:pt x="1657" y="713"/>
                    </a:cubicBezTo>
                    <a:close/>
                    <a:moveTo>
                      <a:pt x="403" y="713"/>
                    </a:moveTo>
                    <a:cubicBezTo>
                      <a:pt x="403" y="635"/>
                      <a:pt x="340" y="572"/>
                      <a:pt x="262" y="572"/>
                    </a:cubicBezTo>
                    <a:cubicBezTo>
                      <a:pt x="184" y="572"/>
                      <a:pt x="121" y="635"/>
                      <a:pt x="121" y="713"/>
                    </a:cubicBezTo>
                    <a:cubicBezTo>
                      <a:pt x="121" y="791"/>
                      <a:pt x="189" y="854"/>
                      <a:pt x="267" y="854"/>
                    </a:cubicBezTo>
                    <a:cubicBezTo>
                      <a:pt x="344" y="854"/>
                      <a:pt x="403" y="791"/>
                      <a:pt x="403" y="713"/>
                    </a:cubicBezTo>
                    <a:close/>
                    <a:moveTo>
                      <a:pt x="354" y="713"/>
                    </a:moveTo>
                    <a:cubicBezTo>
                      <a:pt x="354" y="764"/>
                      <a:pt x="313" y="806"/>
                      <a:pt x="262" y="806"/>
                    </a:cubicBezTo>
                    <a:cubicBezTo>
                      <a:pt x="211" y="806"/>
                      <a:pt x="169" y="764"/>
                      <a:pt x="169" y="713"/>
                    </a:cubicBezTo>
                    <a:cubicBezTo>
                      <a:pt x="169" y="662"/>
                      <a:pt x="211" y="620"/>
                      <a:pt x="262" y="620"/>
                    </a:cubicBezTo>
                    <a:cubicBezTo>
                      <a:pt x="313" y="620"/>
                      <a:pt x="354" y="662"/>
                      <a:pt x="354" y="713"/>
                    </a:cubicBezTo>
                    <a:close/>
                    <a:moveTo>
                      <a:pt x="1227" y="468"/>
                    </a:moveTo>
                    <a:cubicBezTo>
                      <a:pt x="21" y="468"/>
                      <a:pt x="21" y="468"/>
                      <a:pt x="21" y="468"/>
                    </a:cubicBezTo>
                    <a:cubicBezTo>
                      <a:pt x="9" y="468"/>
                      <a:pt x="0" y="477"/>
                      <a:pt x="0" y="489"/>
                    </a:cubicBezTo>
                    <a:cubicBezTo>
                      <a:pt x="0" y="646"/>
                      <a:pt x="0" y="646"/>
                      <a:pt x="0" y="646"/>
                    </a:cubicBezTo>
                    <a:cubicBezTo>
                      <a:pt x="0" y="658"/>
                      <a:pt x="9" y="667"/>
                      <a:pt x="21" y="667"/>
                    </a:cubicBezTo>
                    <a:cubicBezTo>
                      <a:pt x="83" y="667"/>
                      <a:pt x="83" y="667"/>
                      <a:pt x="83" y="667"/>
                    </a:cubicBezTo>
                    <a:cubicBezTo>
                      <a:pt x="103" y="587"/>
                      <a:pt x="176" y="528"/>
                      <a:pt x="262" y="528"/>
                    </a:cubicBezTo>
                    <a:cubicBezTo>
                      <a:pt x="348" y="528"/>
                      <a:pt x="421" y="587"/>
                      <a:pt x="441" y="667"/>
                    </a:cubicBezTo>
                    <a:cubicBezTo>
                      <a:pt x="1227" y="667"/>
                      <a:pt x="1227" y="667"/>
                      <a:pt x="1227" y="667"/>
                    </a:cubicBezTo>
                    <a:cubicBezTo>
                      <a:pt x="1228" y="667"/>
                      <a:pt x="1230" y="667"/>
                      <a:pt x="1231" y="667"/>
                    </a:cubicBezTo>
                    <a:cubicBezTo>
                      <a:pt x="1231" y="468"/>
                      <a:pt x="1231" y="468"/>
                      <a:pt x="1231" y="468"/>
                    </a:cubicBezTo>
                    <a:cubicBezTo>
                      <a:pt x="1230" y="468"/>
                      <a:pt x="1228" y="468"/>
                      <a:pt x="1227" y="468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6" name="Freeform 22">
                <a:extLst>
                  <a:ext uri="{FF2B5EF4-FFF2-40B4-BE49-F238E27FC236}">
                    <a16:creationId xmlns:a16="http://schemas.microsoft.com/office/drawing/2014/main" xmlns="" id="{B0559BF6-D87B-4C20-B897-47FA7C324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63" y="1144"/>
                <a:ext cx="3501" cy="1878"/>
              </a:xfrm>
              <a:custGeom>
                <a:avLst/>
                <a:gdLst>
                  <a:gd name="T0" fmla="*/ 1851 w 1869"/>
                  <a:gd name="T1" fmla="*/ 535 h 1002"/>
                  <a:gd name="T2" fmla="*/ 1534 w 1869"/>
                  <a:gd name="T3" fmla="*/ 535 h 1002"/>
                  <a:gd name="T4" fmla="*/ 1524 w 1869"/>
                  <a:gd name="T5" fmla="*/ 526 h 1002"/>
                  <a:gd name="T6" fmla="*/ 1524 w 1869"/>
                  <a:gd name="T7" fmla="*/ 319 h 1002"/>
                  <a:gd name="T8" fmla="*/ 1534 w 1869"/>
                  <a:gd name="T9" fmla="*/ 310 h 1002"/>
                  <a:gd name="T10" fmla="*/ 1737 w 1869"/>
                  <a:gd name="T11" fmla="*/ 310 h 1002"/>
                  <a:gd name="T12" fmla="*/ 1757 w 1869"/>
                  <a:gd name="T13" fmla="*/ 328 h 1002"/>
                  <a:gd name="T14" fmla="*/ 1868 w 1869"/>
                  <a:gd name="T15" fmla="*/ 516 h 1002"/>
                  <a:gd name="T16" fmla="*/ 1869 w 1869"/>
                  <a:gd name="T17" fmla="*/ 521 h 1002"/>
                  <a:gd name="T18" fmla="*/ 1851 w 1869"/>
                  <a:gd name="T19" fmla="*/ 535 h 1002"/>
                  <a:gd name="T20" fmla="*/ 368 w 1869"/>
                  <a:gd name="T21" fmla="*/ 898 h 1002"/>
                  <a:gd name="T22" fmla="*/ 316 w 1869"/>
                  <a:gd name="T23" fmla="*/ 950 h 1002"/>
                  <a:gd name="T24" fmla="*/ 368 w 1869"/>
                  <a:gd name="T25" fmla="*/ 1002 h 1002"/>
                  <a:gd name="T26" fmla="*/ 420 w 1869"/>
                  <a:gd name="T27" fmla="*/ 950 h 1002"/>
                  <a:gd name="T28" fmla="*/ 368 w 1869"/>
                  <a:gd name="T29" fmla="*/ 898 h 1002"/>
                  <a:gd name="T30" fmla="*/ 1670 w 1869"/>
                  <a:gd name="T31" fmla="*/ 898 h 1002"/>
                  <a:gd name="T32" fmla="*/ 1618 w 1869"/>
                  <a:gd name="T33" fmla="*/ 950 h 1002"/>
                  <a:gd name="T34" fmla="*/ 1670 w 1869"/>
                  <a:gd name="T35" fmla="*/ 1002 h 1002"/>
                  <a:gd name="T36" fmla="*/ 1722 w 1869"/>
                  <a:gd name="T37" fmla="*/ 950 h 1002"/>
                  <a:gd name="T38" fmla="*/ 1670 w 1869"/>
                  <a:gd name="T39" fmla="*/ 898 h 1002"/>
                  <a:gd name="T40" fmla="*/ 1340 w 1869"/>
                  <a:gd name="T41" fmla="*/ 22 h 1002"/>
                  <a:gd name="T42" fmla="*/ 1318 w 1869"/>
                  <a:gd name="T43" fmla="*/ 0 h 1002"/>
                  <a:gd name="T44" fmla="*/ 22 w 1869"/>
                  <a:gd name="T45" fmla="*/ 0 h 1002"/>
                  <a:gd name="T46" fmla="*/ 0 w 1869"/>
                  <a:gd name="T47" fmla="*/ 22 h 1002"/>
                  <a:gd name="T48" fmla="*/ 0 w 1869"/>
                  <a:gd name="T49" fmla="*/ 639 h 1002"/>
                  <a:gd name="T50" fmla="*/ 22 w 1869"/>
                  <a:gd name="T51" fmla="*/ 661 h 1002"/>
                  <a:gd name="T52" fmla="*/ 1340 w 1869"/>
                  <a:gd name="T53" fmla="*/ 661 h 1002"/>
                  <a:gd name="T54" fmla="*/ 1340 w 1869"/>
                  <a:gd name="T55" fmla="*/ 22 h 1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69" h="1002">
                    <a:moveTo>
                      <a:pt x="1851" y="535"/>
                    </a:moveTo>
                    <a:cubicBezTo>
                      <a:pt x="1534" y="535"/>
                      <a:pt x="1534" y="535"/>
                      <a:pt x="1534" y="535"/>
                    </a:cubicBezTo>
                    <a:cubicBezTo>
                      <a:pt x="1529" y="535"/>
                      <a:pt x="1524" y="531"/>
                      <a:pt x="1524" y="526"/>
                    </a:cubicBezTo>
                    <a:cubicBezTo>
                      <a:pt x="1524" y="319"/>
                      <a:pt x="1524" y="319"/>
                      <a:pt x="1524" y="319"/>
                    </a:cubicBezTo>
                    <a:cubicBezTo>
                      <a:pt x="1524" y="314"/>
                      <a:pt x="1529" y="310"/>
                      <a:pt x="1534" y="310"/>
                    </a:cubicBezTo>
                    <a:cubicBezTo>
                      <a:pt x="1737" y="310"/>
                      <a:pt x="1737" y="310"/>
                      <a:pt x="1737" y="310"/>
                    </a:cubicBezTo>
                    <a:cubicBezTo>
                      <a:pt x="1747" y="310"/>
                      <a:pt x="1751" y="318"/>
                      <a:pt x="1757" y="328"/>
                    </a:cubicBezTo>
                    <a:cubicBezTo>
                      <a:pt x="1868" y="516"/>
                      <a:pt x="1868" y="516"/>
                      <a:pt x="1868" y="516"/>
                    </a:cubicBezTo>
                    <a:cubicBezTo>
                      <a:pt x="1869" y="517"/>
                      <a:pt x="1869" y="519"/>
                      <a:pt x="1869" y="521"/>
                    </a:cubicBezTo>
                    <a:cubicBezTo>
                      <a:pt x="1867" y="529"/>
                      <a:pt x="1860" y="535"/>
                      <a:pt x="1851" y="535"/>
                    </a:cubicBezTo>
                    <a:close/>
                    <a:moveTo>
                      <a:pt x="368" y="898"/>
                    </a:moveTo>
                    <a:cubicBezTo>
                      <a:pt x="339" y="898"/>
                      <a:pt x="316" y="921"/>
                      <a:pt x="316" y="950"/>
                    </a:cubicBezTo>
                    <a:cubicBezTo>
                      <a:pt x="316" y="979"/>
                      <a:pt x="339" y="1002"/>
                      <a:pt x="368" y="1002"/>
                    </a:cubicBezTo>
                    <a:cubicBezTo>
                      <a:pt x="397" y="1002"/>
                      <a:pt x="420" y="979"/>
                      <a:pt x="420" y="950"/>
                    </a:cubicBezTo>
                    <a:cubicBezTo>
                      <a:pt x="420" y="921"/>
                      <a:pt x="397" y="898"/>
                      <a:pt x="368" y="898"/>
                    </a:cubicBezTo>
                    <a:close/>
                    <a:moveTo>
                      <a:pt x="1670" y="898"/>
                    </a:moveTo>
                    <a:cubicBezTo>
                      <a:pt x="1641" y="898"/>
                      <a:pt x="1618" y="921"/>
                      <a:pt x="1618" y="950"/>
                    </a:cubicBezTo>
                    <a:cubicBezTo>
                      <a:pt x="1618" y="979"/>
                      <a:pt x="1641" y="1002"/>
                      <a:pt x="1670" y="1002"/>
                    </a:cubicBezTo>
                    <a:cubicBezTo>
                      <a:pt x="1699" y="1002"/>
                      <a:pt x="1722" y="979"/>
                      <a:pt x="1722" y="950"/>
                    </a:cubicBezTo>
                    <a:cubicBezTo>
                      <a:pt x="1722" y="921"/>
                      <a:pt x="1699" y="898"/>
                      <a:pt x="1670" y="898"/>
                    </a:cubicBezTo>
                    <a:close/>
                    <a:moveTo>
                      <a:pt x="1340" y="22"/>
                    </a:moveTo>
                    <a:cubicBezTo>
                      <a:pt x="1340" y="10"/>
                      <a:pt x="1330" y="0"/>
                      <a:pt x="1318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651"/>
                      <a:pt x="10" y="661"/>
                      <a:pt x="22" y="661"/>
                    </a:cubicBezTo>
                    <a:cubicBezTo>
                      <a:pt x="1340" y="661"/>
                      <a:pt x="1340" y="661"/>
                      <a:pt x="1340" y="661"/>
                    </a:cubicBezTo>
                    <a:lnTo>
                      <a:pt x="1340" y="22"/>
                    </a:ln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4" name="Group 153"/>
          <p:cNvGrpSpPr/>
          <p:nvPr/>
        </p:nvGrpSpPr>
        <p:grpSpPr>
          <a:xfrm>
            <a:off x="1029847" y="4369318"/>
            <a:ext cx="1127654" cy="1127656"/>
            <a:chOff x="1029847" y="4234235"/>
            <a:chExt cx="1127654" cy="1127656"/>
          </a:xfrm>
        </p:grpSpPr>
        <p:sp>
          <p:nvSpPr>
            <p:cNvPr id="9" name="Oval 8"/>
            <p:cNvSpPr/>
            <p:nvPr/>
          </p:nvSpPr>
          <p:spPr>
            <a:xfrm>
              <a:off x="1029847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7" name="Group 16"/>
            <p:cNvGrpSpPr>
              <a:grpSpLocks noChangeAspect="1"/>
            </p:cNvGrpSpPr>
            <p:nvPr/>
          </p:nvGrpSpPr>
          <p:grpSpPr>
            <a:xfrm>
              <a:off x="1182574" y="4386583"/>
              <a:ext cx="822200" cy="822960"/>
              <a:chOff x="5273799" y="2606040"/>
              <a:chExt cx="1644396" cy="1645920"/>
            </a:xfrm>
          </p:grpSpPr>
          <p:sp>
            <p:nvSpPr>
              <p:cNvPr id="18" name="AutoShape 13">
                <a:extLst>
                  <a:ext uri="{FF2B5EF4-FFF2-40B4-BE49-F238E27FC236}">
                    <a16:creationId xmlns:a16="http://schemas.microsoft.com/office/drawing/2014/main" xmlns="" id="{A6B62B7F-B1B2-4803-95E8-2DB8A96A0D9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5407149" y="2775204"/>
                <a:ext cx="1379220" cy="1306068"/>
                <a:chOff x="5407149" y="2775204"/>
                <a:chExt cx="1379220" cy="1306068"/>
              </a:xfrm>
            </p:grpSpPr>
            <p:sp>
              <p:nvSpPr>
                <p:cNvPr id="20" name="Freeform 15">
                  <a:extLst>
                    <a:ext uri="{FF2B5EF4-FFF2-40B4-BE49-F238E27FC236}">
                      <a16:creationId xmlns:a16="http://schemas.microsoft.com/office/drawing/2014/main" xmlns="" id="{C49F8F87-804D-4785-B3FF-71E118F988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02983" y="3357372"/>
                  <a:ext cx="987552" cy="308229"/>
                </a:xfrm>
                <a:custGeom>
                  <a:avLst/>
                  <a:gdLst>
                    <a:gd name="T0" fmla="*/ 10 w 1384"/>
                    <a:gd name="T1" fmla="*/ 183 h 431"/>
                    <a:gd name="T2" fmla="*/ 0 w 1384"/>
                    <a:gd name="T3" fmla="*/ 10 h 431"/>
                    <a:gd name="T4" fmla="*/ 292 w 1384"/>
                    <a:gd name="T5" fmla="*/ 0 h 431"/>
                    <a:gd name="T6" fmla="*/ 302 w 1384"/>
                    <a:gd name="T7" fmla="*/ 173 h 431"/>
                    <a:gd name="T8" fmla="*/ 662 w 1384"/>
                    <a:gd name="T9" fmla="*/ 173 h 431"/>
                    <a:gd name="T10" fmla="*/ 652 w 1384"/>
                    <a:gd name="T11" fmla="*/ 0 h 431"/>
                    <a:gd name="T12" fmla="*/ 361 w 1384"/>
                    <a:gd name="T13" fmla="*/ 10 h 431"/>
                    <a:gd name="T14" fmla="*/ 371 w 1384"/>
                    <a:gd name="T15" fmla="*/ 183 h 431"/>
                    <a:gd name="T16" fmla="*/ 662 w 1384"/>
                    <a:gd name="T17" fmla="*/ 173 h 431"/>
                    <a:gd name="T18" fmla="*/ 1023 w 1384"/>
                    <a:gd name="T19" fmla="*/ 10 h 431"/>
                    <a:gd name="T20" fmla="*/ 732 w 1384"/>
                    <a:gd name="T21" fmla="*/ 0 h 431"/>
                    <a:gd name="T22" fmla="*/ 722 w 1384"/>
                    <a:gd name="T23" fmla="*/ 173 h 431"/>
                    <a:gd name="T24" fmla="*/ 1013 w 1384"/>
                    <a:gd name="T25" fmla="*/ 183 h 431"/>
                    <a:gd name="T26" fmla="*/ 1384 w 1384"/>
                    <a:gd name="T27" fmla="*/ 173 h 431"/>
                    <a:gd name="T28" fmla="*/ 1374 w 1384"/>
                    <a:gd name="T29" fmla="*/ 0 h 431"/>
                    <a:gd name="T30" fmla="*/ 1082 w 1384"/>
                    <a:gd name="T31" fmla="*/ 10 h 431"/>
                    <a:gd name="T32" fmla="*/ 1092 w 1384"/>
                    <a:gd name="T33" fmla="*/ 183 h 431"/>
                    <a:gd name="T34" fmla="*/ 1384 w 1384"/>
                    <a:gd name="T35" fmla="*/ 173 h 431"/>
                    <a:gd name="T36" fmla="*/ 302 w 1384"/>
                    <a:gd name="T37" fmla="*/ 258 h 431"/>
                    <a:gd name="T38" fmla="*/ 10 w 1384"/>
                    <a:gd name="T39" fmla="*/ 248 h 431"/>
                    <a:gd name="T40" fmla="*/ 0 w 1384"/>
                    <a:gd name="T41" fmla="*/ 421 h 431"/>
                    <a:gd name="T42" fmla="*/ 292 w 1384"/>
                    <a:gd name="T43" fmla="*/ 431 h 431"/>
                    <a:gd name="T44" fmla="*/ 662 w 1384"/>
                    <a:gd name="T45" fmla="*/ 421 h 431"/>
                    <a:gd name="T46" fmla="*/ 652 w 1384"/>
                    <a:gd name="T47" fmla="*/ 248 h 431"/>
                    <a:gd name="T48" fmla="*/ 361 w 1384"/>
                    <a:gd name="T49" fmla="*/ 258 h 431"/>
                    <a:gd name="T50" fmla="*/ 371 w 1384"/>
                    <a:gd name="T51" fmla="*/ 431 h 431"/>
                    <a:gd name="T52" fmla="*/ 662 w 1384"/>
                    <a:gd name="T53" fmla="*/ 421 h 431"/>
                    <a:gd name="T54" fmla="*/ 1023 w 1384"/>
                    <a:gd name="T55" fmla="*/ 258 h 431"/>
                    <a:gd name="T56" fmla="*/ 732 w 1384"/>
                    <a:gd name="T57" fmla="*/ 248 h 431"/>
                    <a:gd name="T58" fmla="*/ 722 w 1384"/>
                    <a:gd name="T59" fmla="*/ 421 h 431"/>
                    <a:gd name="T60" fmla="*/ 1013 w 1384"/>
                    <a:gd name="T61" fmla="*/ 431 h 431"/>
                    <a:gd name="T62" fmla="*/ 1384 w 1384"/>
                    <a:gd name="T63" fmla="*/ 421 h 431"/>
                    <a:gd name="T64" fmla="*/ 1374 w 1384"/>
                    <a:gd name="T65" fmla="*/ 248 h 431"/>
                    <a:gd name="T66" fmla="*/ 1082 w 1384"/>
                    <a:gd name="T67" fmla="*/ 258 h 431"/>
                    <a:gd name="T68" fmla="*/ 1092 w 1384"/>
                    <a:gd name="T69" fmla="*/ 431 h 431"/>
                    <a:gd name="T70" fmla="*/ 1384 w 1384"/>
                    <a:gd name="T71" fmla="*/ 421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84" h="431">
                      <a:moveTo>
                        <a:pt x="292" y="183"/>
                      </a:moveTo>
                      <a:cubicBezTo>
                        <a:pt x="10" y="183"/>
                        <a:pt x="10" y="183"/>
                        <a:pt x="10" y="183"/>
                      </a:cubicBezTo>
                      <a:cubicBezTo>
                        <a:pt x="4" y="183"/>
                        <a:pt x="0" y="179"/>
                        <a:pt x="0" y="173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297" y="0"/>
                        <a:pt x="302" y="5"/>
                        <a:pt x="302" y="10"/>
                      </a:cubicBezTo>
                      <a:cubicBezTo>
                        <a:pt x="302" y="173"/>
                        <a:pt x="302" y="173"/>
                        <a:pt x="302" y="173"/>
                      </a:cubicBezTo>
                      <a:cubicBezTo>
                        <a:pt x="302" y="179"/>
                        <a:pt x="297" y="183"/>
                        <a:pt x="292" y="183"/>
                      </a:cubicBezTo>
                      <a:close/>
                      <a:moveTo>
                        <a:pt x="662" y="173"/>
                      </a:moveTo>
                      <a:cubicBezTo>
                        <a:pt x="662" y="10"/>
                        <a:pt x="662" y="10"/>
                        <a:pt x="662" y="10"/>
                      </a:cubicBezTo>
                      <a:cubicBezTo>
                        <a:pt x="662" y="5"/>
                        <a:pt x="658" y="0"/>
                        <a:pt x="652" y="0"/>
                      </a:cubicBezTo>
                      <a:cubicBezTo>
                        <a:pt x="371" y="0"/>
                        <a:pt x="371" y="0"/>
                        <a:pt x="371" y="0"/>
                      </a:cubicBezTo>
                      <a:cubicBezTo>
                        <a:pt x="365" y="0"/>
                        <a:pt x="361" y="5"/>
                        <a:pt x="361" y="10"/>
                      </a:cubicBezTo>
                      <a:cubicBezTo>
                        <a:pt x="361" y="173"/>
                        <a:pt x="361" y="173"/>
                        <a:pt x="361" y="173"/>
                      </a:cubicBezTo>
                      <a:cubicBezTo>
                        <a:pt x="361" y="179"/>
                        <a:pt x="365" y="183"/>
                        <a:pt x="371" y="183"/>
                      </a:cubicBezTo>
                      <a:cubicBezTo>
                        <a:pt x="652" y="183"/>
                        <a:pt x="652" y="183"/>
                        <a:pt x="652" y="183"/>
                      </a:cubicBezTo>
                      <a:cubicBezTo>
                        <a:pt x="658" y="183"/>
                        <a:pt x="662" y="179"/>
                        <a:pt x="662" y="173"/>
                      </a:cubicBezTo>
                      <a:close/>
                      <a:moveTo>
                        <a:pt x="1023" y="173"/>
                      </a:moveTo>
                      <a:cubicBezTo>
                        <a:pt x="1023" y="10"/>
                        <a:pt x="1023" y="10"/>
                        <a:pt x="1023" y="10"/>
                      </a:cubicBezTo>
                      <a:cubicBezTo>
                        <a:pt x="1023" y="5"/>
                        <a:pt x="1019" y="0"/>
                        <a:pt x="1013" y="0"/>
                      </a:cubicBezTo>
                      <a:cubicBezTo>
                        <a:pt x="732" y="0"/>
                        <a:pt x="732" y="0"/>
                        <a:pt x="732" y="0"/>
                      </a:cubicBezTo>
                      <a:cubicBezTo>
                        <a:pt x="726" y="0"/>
                        <a:pt x="722" y="5"/>
                        <a:pt x="722" y="10"/>
                      </a:cubicBezTo>
                      <a:cubicBezTo>
                        <a:pt x="722" y="173"/>
                        <a:pt x="722" y="173"/>
                        <a:pt x="722" y="173"/>
                      </a:cubicBezTo>
                      <a:cubicBezTo>
                        <a:pt x="722" y="179"/>
                        <a:pt x="726" y="183"/>
                        <a:pt x="732" y="183"/>
                      </a:cubicBezTo>
                      <a:cubicBezTo>
                        <a:pt x="1013" y="183"/>
                        <a:pt x="1013" y="183"/>
                        <a:pt x="1013" y="183"/>
                      </a:cubicBezTo>
                      <a:cubicBezTo>
                        <a:pt x="1019" y="183"/>
                        <a:pt x="1023" y="179"/>
                        <a:pt x="1023" y="173"/>
                      </a:cubicBezTo>
                      <a:close/>
                      <a:moveTo>
                        <a:pt x="1384" y="173"/>
                      </a:moveTo>
                      <a:cubicBezTo>
                        <a:pt x="1384" y="10"/>
                        <a:pt x="1384" y="10"/>
                        <a:pt x="1384" y="10"/>
                      </a:cubicBezTo>
                      <a:cubicBezTo>
                        <a:pt x="1384" y="5"/>
                        <a:pt x="1380" y="0"/>
                        <a:pt x="1374" y="0"/>
                      </a:cubicBezTo>
                      <a:cubicBezTo>
                        <a:pt x="1092" y="0"/>
                        <a:pt x="1092" y="0"/>
                        <a:pt x="1092" y="0"/>
                      </a:cubicBezTo>
                      <a:cubicBezTo>
                        <a:pt x="1087" y="0"/>
                        <a:pt x="1082" y="5"/>
                        <a:pt x="1082" y="10"/>
                      </a:cubicBezTo>
                      <a:cubicBezTo>
                        <a:pt x="1082" y="173"/>
                        <a:pt x="1082" y="173"/>
                        <a:pt x="1082" y="173"/>
                      </a:cubicBezTo>
                      <a:cubicBezTo>
                        <a:pt x="1082" y="179"/>
                        <a:pt x="1087" y="183"/>
                        <a:pt x="1092" y="183"/>
                      </a:cubicBezTo>
                      <a:cubicBezTo>
                        <a:pt x="1374" y="183"/>
                        <a:pt x="1374" y="183"/>
                        <a:pt x="1374" y="183"/>
                      </a:cubicBezTo>
                      <a:cubicBezTo>
                        <a:pt x="1380" y="183"/>
                        <a:pt x="1384" y="179"/>
                        <a:pt x="1384" y="173"/>
                      </a:cubicBezTo>
                      <a:close/>
                      <a:moveTo>
                        <a:pt x="302" y="421"/>
                      </a:moveTo>
                      <a:cubicBezTo>
                        <a:pt x="302" y="258"/>
                        <a:pt x="302" y="258"/>
                        <a:pt x="302" y="258"/>
                      </a:cubicBezTo>
                      <a:cubicBezTo>
                        <a:pt x="302" y="253"/>
                        <a:pt x="297" y="248"/>
                        <a:pt x="292" y="248"/>
                      </a:cubicBezTo>
                      <a:cubicBezTo>
                        <a:pt x="10" y="248"/>
                        <a:pt x="10" y="248"/>
                        <a:pt x="10" y="248"/>
                      </a:cubicBezTo>
                      <a:cubicBezTo>
                        <a:pt x="4" y="248"/>
                        <a:pt x="0" y="253"/>
                        <a:pt x="0" y="258"/>
                      </a:cubicBezTo>
                      <a:cubicBezTo>
                        <a:pt x="0" y="421"/>
                        <a:pt x="0" y="421"/>
                        <a:pt x="0" y="421"/>
                      </a:cubicBezTo>
                      <a:cubicBezTo>
                        <a:pt x="0" y="427"/>
                        <a:pt x="4" y="431"/>
                        <a:pt x="10" y="431"/>
                      </a:cubicBezTo>
                      <a:cubicBezTo>
                        <a:pt x="292" y="431"/>
                        <a:pt x="292" y="431"/>
                        <a:pt x="292" y="431"/>
                      </a:cubicBezTo>
                      <a:cubicBezTo>
                        <a:pt x="297" y="431"/>
                        <a:pt x="302" y="427"/>
                        <a:pt x="302" y="421"/>
                      </a:cubicBezTo>
                      <a:close/>
                      <a:moveTo>
                        <a:pt x="662" y="421"/>
                      </a:moveTo>
                      <a:cubicBezTo>
                        <a:pt x="662" y="258"/>
                        <a:pt x="662" y="258"/>
                        <a:pt x="662" y="258"/>
                      </a:cubicBezTo>
                      <a:cubicBezTo>
                        <a:pt x="662" y="253"/>
                        <a:pt x="658" y="248"/>
                        <a:pt x="65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5" y="248"/>
                        <a:pt x="361" y="253"/>
                        <a:pt x="361" y="258"/>
                      </a:cubicBezTo>
                      <a:cubicBezTo>
                        <a:pt x="361" y="421"/>
                        <a:pt x="361" y="421"/>
                        <a:pt x="361" y="421"/>
                      </a:cubicBezTo>
                      <a:cubicBezTo>
                        <a:pt x="361" y="427"/>
                        <a:pt x="365" y="431"/>
                        <a:pt x="371" y="431"/>
                      </a:cubicBezTo>
                      <a:cubicBezTo>
                        <a:pt x="652" y="431"/>
                        <a:pt x="652" y="431"/>
                        <a:pt x="652" y="431"/>
                      </a:cubicBezTo>
                      <a:cubicBezTo>
                        <a:pt x="658" y="431"/>
                        <a:pt x="662" y="427"/>
                        <a:pt x="662" y="421"/>
                      </a:cubicBezTo>
                      <a:close/>
                      <a:moveTo>
                        <a:pt x="1023" y="421"/>
                      </a:moveTo>
                      <a:cubicBezTo>
                        <a:pt x="1023" y="258"/>
                        <a:pt x="1023" y="258"/>
                        <a:pt x="1023" y="258"/>
                      </a:cubicBezTo>
                      <a:cubicBezTo>
                        <a:pt x="1023" y="253"/>
                        <a:pt x="1019" y="248"/>
                        <a:pt x="1013" y="248"/>
                      </a:cubicBezTo>
                      <a:cubicBezTo>
                        <a:pt x="732" y="248"/>
                        <a:pt x="732" y="248"/>
                        <a:pt x="732" y="248"/>
                      </a:cubicBezTo>
                      <a:cubicBezTo>
                        <a:pt x="726" y="248"/>
                        <a:pt x="722" y="253"/>
                        <a:pt x="722" y="258"/>
                      </a:cubicBezTo>
                      <a:cubicBezTo>
                        <a:pt x="722" y="421"/>
                        <a:pt x="722" y="421"/>
                        <a:pt x="722" y="421"/>
                      </a:cubicBezTo>
                      <a:cubicBezTo>
                        <a:pt x="722" y="427"/>
                        <a:pt x="726" y="431"/>
                        <a:pt x="732" y="431"/>
                      </a:cubicBezTo>
                      <a:cubicBezTo>
                        <a:pt x="1013" y="431"/>
                        <a:pt x="1013" y="431"/>
                        <a:pt x="1013" y="431"/>
                      </a:cubicBezTo>
                      <a:cubicBezTo>
                        <a:pt x="1019" y="431"/>
                        <a:pt x="1023" y="427"/>
                        <a:pt x="1023" y="421"/>
                      </a:cubicBezTo>
                      <a:close/>
                      <a:moveTo>
                        <a:pt x="1384" y="421"/>
                      </a:moveTo>
                      <a:cubicBezTo>
                        <a:pt x="1384" y="258"/>
                        <a:pt x="1384" y="258"/>
                        <a:pt x="1384" y="258"/>
                      </a:cubicBezTo>
                      <a:cubicBezTo>
                        <a:pt x="1384" y="253"/>
                        <a:pt x="1380" y="248"/>
                        <a:pt x="1374" y="248"/>
                      </a:cubicBezTo>
                      <a:cubicBezTo>
                        <a:pt x="1092" y="248"/>
                        <a:pt x="1092" y="248"/>
                        <a:pt x="1092" y="248"/>
                      </a:cubicBezTo>
                      <a:cubicBezTo>
                        <a:pt x="1087" y="248"/>
                        <a:pt x="1082" y="253"/>
                        <a:pt x="1082" y="258"/>
                      </a:cubicBezTo>
                      <a:cubicBezTo>
                        <a:pt x="1082" y="421"/>
                        <a:pt x="1082" y="421"/>
                        <a:pt x="1082" y="421"/>
                      </a:cubicBezTo>
                      <a:cubicBezTo>
                        <a:pt x="1082" y="427"/>
                        <a:pt x="1087" y="431"/>
                        <a:pt x="1092" y="431"/>
                      </a:cubicBezTo>
                      <a:cubicBezTo>
                        <a:pt x="1374" y="431"/>
                        <a:pt x="1374" y="431"/>
                        <a:pt x="1374" y="431"/>
                      </a:cubicBezTo>
                      <a:cubicBezTo>
                        <a:pt x="1380" y="431"/>
                        <a:pt x="1384" y="427"/>
                        <a:pt x="1384" y="421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21" name="Freeform 16">
                  <a:extLst>
                    <a:ext uri="{FF2B5EF4-FFF2-40B4-BE49-F238E27FC236}">
                      <a16:creationId xmlns:a16="http://schemas.microsoft.com/office/drawing/2014/main" xmlns="" id="{D5D864F2-D4FC-4684-89BF-B212682AA9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07149" y="2775204"/>
                  <a:ext cx="1379220" cy="1306068"/>
                </a:xfrm>
                <a:custGeom>
                  <a:avLst/>
                  <a:gdLst>
                    <a:gd name="T0" fmla="*/ 1687 w 1932"/>
                    <a:gd name="T1" fmla="*/ 15 h 1828"/>
                    <a:gd name="T2" fmla="*/ 1735 w 1932"/>
                    <a:gd name="T3" fmla="*/ 587 h 1828"/>
                    <a:gd name="T4" fmla="*/ 1719 w 1932"/>
                    <a:gd name="T5" fmla="*/ 604 h 1828"/>
                    <a:gd name="T6" fmla="*/ 1417 w 1932"/>
                    <a:gd name="T7" fmla="*/ 604 h 1828"/>
                    <a:gd name="T8" fmla="*/ 1401 w 1932"/>
                    <a:gd name="T9" fmla="*/ 587 h 1828"/>
                    <a:gd name="T10" fmla="*/ 1449 w 1932"/>
                    <a:gd name="T11" fmla="*/ 15 h 1828"/>
                    <a:gd name="T12" fmla="*/ 1465 w 1932"/>
                    <a:gd name="T13" fmla="*/ 0 h 1828"/>
                    <a:gd name="T14" fmla="*/ 1671 w 1932"/>
                    <a:gd name="T15" fmla="*/ 0 h 1828"/>
                    <a:gd name="T16" fmla="*/ 1687 w 1932"/>
                    <a:gd name="T17" fmla="*/ 15 h 1828"/>
                    <a:gd name="T18" fmla="*/ 1932 w 1932"/>
                    <a:gd name="T19" fmla="*/ 1706 h 1828"/>
                    <a:gd name="T20" fmla="*/ 1932 w 1932"/>
                    <a:gd name="T21" fmla="*/ 1806 h 1828"/>
                    <a:gd name="T22" fmla="*/ 1910 w 1932"/>
                    <a:gd name="T23" fmla="*/ 1828 h 1828"/>
                    <a:gd name="T24" fmla="*/ 22 w 1932"/>
                    <a:gd name="T25" fmla="*/ 1828 h 1828"/>
                    <a:gd name="T26" fmla="*/ 0 w 1932"/>
                    <a:gd name="T27" fmla="*/ 1806 h 1828"/>
                    <a:gd name="T28" fmla="*/ 0 w 1932"/>
                    <a:gd name="T29" fmla="*/ 1706 h 1828"/>
                    <a:gd name="T30" fmla="*/ 22 w 1932"/>
                    <a:gd name="T31" fmla="*/ 1684 h 1828"/>
                    <a:gd name="T32" fmla="*/ 98 w 1932"/>
                    <a:gd name="T33" fmla="*/ 1684 h 1828"/>
                    <a:gd name="T34" fmla="*/ 98 w 1932"/>
                    <a:gd name="T35" fmla="*/ 1647 h 1828"/>
                    <a:gd name="T36" fmla="*/ 120 w 1932"/>
                    <a:gd name="T37" fmla="*/ 1625 h 1828"/>
                    <a:gd name="T38" fmla="*/ 1812 w 1932"/>
                    <a:gd name="T39" fmla="*/ 1625 h 1828"/>
                    <a:gd name="T40" fmla="*/ 1834 w 1932"/>
                    <a:gd name="T41" fmla="*/ 1647 h 1828"/>
                    <a:gd name="T42" fmla="*/ 1834 w 1932"/>
                    <a:gd name="T43" fmla="*/ 1684 h 1828"/>
                    <a:gd name="T44" fmla="*/ 1910 w 1932"/>
                    <a:gd name="T45" fmla="*/ 1684 h 1828"/>
                    <a:gd name="T46" fmla="*/ 1932 w 1932"/>
                    <a:gd name="T47" fmla="*/ 1706 h 1828"/>
                    <a:gd name="T48" fmla="*/ 1812 w 1932"/>
                    <a:gd name="T49" fmla="*/ 670 h 1828"/>
                    <a:gd name="T50" fmla="*/ 1790 w 1932"/>
                    <a:gd name="T51" fmla="*/ 648 h 1828"/>
                    <a:gd name="T52" fmla="*/ 1286 w 1932"/>
                    <a:gd name="T53" fmla="*/ 648 h 1828"/>
                    <a:gd name="T54" fmla="*/ 713 w 1932"/>
                    <a:gd name="T55" fmla="*/ 459 h 1828"/>
                    <a:gd name="T56" fmla="*/ 693 w 1932"/>
                    <a:gd name="T57" fmla="*/ 462 h 1828"/>
                    <a:gd name="T58" fmla="*/ 684 w 1932"/>
                    <a:gd name="T59" fmla="*/ 480 h 1828"/>
                    <a:gd name="T60" fmla="*/ 684 w 1932"/>
                    <a:gd name="T61" fmla="*/ 638 h 1828"/>
                    <a:gd name="T62" fmla="*/ 147 w 1932"/>
                    <a:gd name="T63" fmla="*/ 459 h 1828"/>
                    <a:gd name="T64" fmla="*/ 127 w 1932"/>
                    <a:gd name="T65" fmla="*/ 462 h 1828"/>
                    <a:gd name="T66" fmla="*/ 118 w 1932"/>
                    <a:gd name="T67" fmla="*/ 480 h 1828"/>
                    <a:gd name="T68" fmla="*/ 118 w 1932"/>
                    <a:gd name="T69" fmla="*/ 1581 h 1828"/>
                    <a:gd name="T70" fmla="*/ 162 w 1932"/>
                    <a:gd name="T71" fmla="*/ 1581 h 1828"/>
                    <a:gd name="T72" fmla="*/ 162 w 1932"/>
                    <a:gd name="T73" fmla="*/ 510 h 1828"/>
                    <a:gd name="T74" fmla="*/ 699 w 1932"/>
                    <a:gd name="T75" fmla="*/ 689 h 1828"/>
                    <a:gd name="T76" fmla="*/ 719 w 1932"/>
                    <a:gd name="T77" fmla="*/ 686 h 1828"/>
                    <a:gd name="T78" fmla="*/ 728 w 1932"/>
                    <a:gd name="T79" fmla="*/ 668 h 1828"/>
                    <a:gd name="T80" fmla="*/ 728 w 1932"/>
                    <a:gd name="T81" fmla="*/ 510 h 1828"/>
                    <a:gd name="T82" fmla="*/ 1275 w 1932"/>
                    <a:gd name="T83" fmla="*/ 691 h 1828"/>
                    <a:gd name="T84" fmla="*/ 1282 w 1932"/>
                    <a:gd name="T85" fmla="*/ 692 h 1828"/>
                    <a:gd name="T86" fmla="*/ 1768 w 1932"/>
                    <a:gd name="T87" fmla="*/ 692 h 1828"/>
                    <a:gd name="T88" fmla="*/ 1768 w 1932"/>
                    <a:gd name="T89" fmla="*/ 1581 h 1828"/>
                    <a:gd name="T90" fmla="*/ 1812 w 1932"/>
                    <a:gd name="T91" fmla="*/ 1581 h 1828"/>
                    <a:gd name="T92" fmla="*/ 1812 w 1932"/>
                    <a:gd name="T93" fmla="*/ 670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32" h="1828">
                      <a:moveTo>
                        <a:pt x="1687" y="15"/>
                      </a:moveTo>
                      <a:cubicBezTo>
                        <a:pt x="1735" y="587"/>
                        <a:pt x="1735" y="587"/>
                        <a:pt x="1735" y="587"/>
                      </a:cubicBezTo>
                      <a:cubicBezTo>
                        <a:pt x="1736" y="596"/>
                        <a:pt x="1728" y="604"/>
                        <a:pt x="1719" y="604"/>
                      </a:cubicBezTo>
                      <a:cubicBezTo>
                        <a:pt x="1417" y="604"/>
                        <a:pt x="1417" y="604"/>
                        <a:pt x="1417" y="604"/>
                      </a:cubicBezTo>
                      <a:cubicBezTo>
                        <a:pt x="1407" y="604"/>
                        <a:pt x="1400" y="596"/>
                        <a:pt x="1401" y="587"/>
                      </a:cubicBezTo>
                      <a:cubicBezTo>
                        <a:pt x="1449" y="15"/>
                        <a:pt x="1449" y="15"/>
                        <a:pt x="1449" y="15"/>
                      </a:cubicBezTo>
                      <a:cubicBezTo>
                        <a:pt x="1450" y="6"/>
                        <a:pt x="1457" y="0"/>
                        <a:pt x="1465" y="0"/>
                      </a:cubicBezTo>
                      <a:cubicBezTo>
                        <a:pt x="1671" y="0"/>
                        <a:pt x="1671" y="0"/>
                        <a:pt x="1671" y="0"/>
                      </a:cubicBezTo>
                      <a:cubicBezTo>
                        <a:pt x="1679" y="0"/>
                        <a:pt x="1686" y="6"/>
                        <a:pt x="1687" y="15"/>
                      </a:cubicBezTo>
                      <a:close/>
                      <a:moveTo>
                        <a:pt x="1932" y="1706"/>
                      </a:moveTo>
                      <a:cubicBezTo>
                        <a:pt x="1932" y="1806"/>
                        <a:pt x="1932" y="1806"/>
                        <a:pt x="1932" y="1806"/>
                      </a:cubicBezTo>
                      <a:cubicBezTo>
                        <a:pt x="1932" y="1818"/>
                        <a:pt x="1923" y="1828"/>
                        <a:pt x="1910" y="1828"/>
                      </a:cubicBezTo>
                      <a:cubicBezTo>
                        <a:pt x="22" y="1828"/>
                        <a:pt x="22" y="1828"/>
                        <a:pt x="22" y="1828"/>
                      </a:cubicBezTo>
                      <a:cubicBezTo>
                        <a:pt x="9" y="1828"/>
                        <a:pt x="0" y="1818"/>
                        <a:pt x="0" y="1806"/>
                      </a:cubicBezTo>
                      <a:cubicBezTo>
                        <a:pt x="0" y="1706"/>
                        <a:pt x="0" y="1706"/>
                        <a:pt x="0" y="1706"/>
                      </a:cubicBezTo>
                      <a:cubicBezTo>
                        <a:pt x="0" y="1694"/>
                        <a:pt x="9" y="1684"/>
                        <a:pt x="22" y="1684"/>
                      </a:cubicBezTo>
                      <a:cubicBezTo>
                        <a:pt x="98" y="1684"/>
                        <a:pt x="98" y="1684"/>
                        <a:pt x="98" y="1684"/>
                      </a:cubicBezTo>
                      <a:cubicBezTo>
                        <a:pt x="98" y="1647"/>
                        <a:pt x="98" y="1647"/>
                        <a:pt x="98" y="1647"/>
                      </a:cubicBezTo>
                      <a:cubicBezTo>
                        <a:pt x="98" y="1635"/>
                        <a:pt x="108" y="1625"/>
                        <a:pt x="120" y="1625"/>
                      </a:cubicBezTo>
                      <a:cubicBezTo>
                        <a:pt x="1812" y="1625"/>
                        <a:pt x="1812" y="1625"/>
                        <a:pt x="1812" y="1625"/>
                      </a:cubicBezTo>
                      <a:cubicBezTo>
                        <a:pt x="1824" y="1625"/>
                        <a:pt x="1834" y="1635"/>
                        <a:pt x="1834" y="1647"/>
                      </a:cubicBezTo>
                      <a:cubicBezTo>
                        <a:pt x="1834" y="1684"/>
                        <a:pt x="1834" y="1684"/>
                        <a:pt x="1834" y="1684"/>
                      </a:cubicBezTo>
                      <a:cubicBezTo>
                        <a:pt x="1910" y="1684"/>
                        <a:pt x="1910" y="1684"/>
                        <a:pt x="1910" y="1684"/>
                      </a:cubicBezTo>
                      <a:cubicBezTo>
                        <a:pt x="1923" y="1684"/>
                        <a:pt x="1932" y="1694"/>
                        <a:pt x="1932" y="1706"/>
                      </a:cubicBezTo>
                      <a:close/>
                      <a:moveTo>
                        <a:pt x="1812" y="670"/>
                      </a:moveTo>
                      <a:cubicBezTo>
                        <a:pt x="1812" y="658"/>
                        <a:pt x="1802" y="648"/>
                        <a:pt x="1790" y="648"/>
                      </a:cubicBezTo>
                      <a:cubicBezTo>
                        <a:pt x="1286" y="648"/>
                        <a:pt x="1286" y="648"/>
                        <a:pt x="1286" y="648"/>
                      </a:cubicBezTo>
                      <a:cubicBezTo>
                        <a:pt x="713" y="459"/>
                        <a:pt x="713" y="459"/>
                        <a:pt x="713" y="459"/>
                      </a:cubicBezTo>
                      <a:cubicBezTo>
                        <a:pt x="706" y="457"/>
                        <a:pt x="699" y="458"/>
                        <a:pt x="693" y="462"/>
                      </a:cubicBezTo>
                      <a:cubicBezTo>
                        <a:pt x="687" y="466"/>
                        <a:pt x="684" y="473"/>
                        <a:pt x="684" y="480"/>
                      </a:cubicBezTo>
                      <a:cubicBezTo>
                        <a:pt x="684" y="638"/>
                        <a:pt x="684" y="638"/>
                        <a:pt x="684" y="638"/>
                      </a:cubicBezTo>
                      <a:cubicBezTo>
                        <a:pt x="147" y="459"/>
                        <a:pt x="147" y="459"/>
                        <a:pt x="147" y="459"/>
                      </a:cubicBezTo>
                      <a:cubicBezTo>
                        <a:pt x="140" y="457"/>
                        <a:pt x="133" y="458"/>
                        <a:pt x="127" y="462"/>
                      </a:cubicBezTo>
                      <a:cubicBezTo>
                        <a:pt x="121" y="466"/>
                        <a:pt x="118" y="473"/>
                        <a:pt x="118" y="480"/>
                      </a:cubicBezTo>
                      <a:cubicBezTo>
                        <a:pt x="118" y="1581"/>
                        <a:pt x="118" y="1581"/>
                        <a:pt x="118" y="1581"/>
                      </a:cubicBezTo>
                      <a:cubicBezTo>
                        <a:pt x="162" y="1581"/>
                        <a:pt x="162" y="1581"/>
                        <a:pt x="162" y="1581"/>
                      </a:cubicBezTo>
                      <a:cubicBezTo>
                        <a:pt x="162" y="510"/>
                        <a:pt x="162" y="510"/>
                        <a:pt x="162" y="510"/>
                      </a:cubicBezTo>
                      <a:cubicBezTo>
                        <a:pt x="699" y="689"/>
                        <a:pt x="699" y="689"/>
                        <a:pt x="699" y="689"/>
                      </a:cubicBezTo>
                      <a:cubicBezTo>
                        <a:pt x="706" y="691"/>
                        <a:pt x="713" y="690"/>
                        <a:pt x="719" y="686"/>
                      </a:cubicBezTo>
                      <a:cubicBezTo>
                        <a:pt x="725" y="682"/>
                        <a:pt x="728" y="675"/>
                        <a:pt x="728" y="668"/>
                      </a:cubicBezTo>
                      <a:cubicBezTo>
                        <a:pt x="728" y="510"/>
                        <a:pt x="728" y="510"/>
                        <a:pt x="728" y="510"/>
                      </a:cubicBezTo>
                      <a:cubicBezTo>
                        <a:pt x="1275" y="691"/>
                        <a:pt x="1275" y="691"/>
                        <a:pt x="1275" y="691"/>
                      </a:cubicBezTo>
                      <a:cubicBezTo>
                        <a:pt x="1277" y="692"/>
                        <a:pt x="1280" y="692"/>
                        <a:pt x="1282" y="692"/>
                      </a:cubicBezTo>
                      <a:cubicBezTo>
                        <a:pt x="1768" y="692"/>
                        <a:pt x="1768" y="692"/>
                        <a:pt x="1768" y="692"/>
                      </a:cubicBezTo>
                      <a:cubicBezTo>
                        <a:pt x="1768" y="1581"/>
                        <a:pt x="1768" y="1581"/>
                        <a:pt x="1768" y="1581"/>
                      </a:cubicBezTo>
                      <a:cubicBezTo>
                        <a:pt x="1812" y="1581"/>
                        <a:pt x="1812" y="1581"/>
                        <a:pt x="1812" y="1581"/>
                      </a:cubicBezTo>
                      <a:lnTo>
                        <a:pt x="1812" y="670"/>
                      </a:ln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152" name="Group 151"/>
          <p:cNvGrpSpPr/>
          <p:nvPr/>
        </p:nvGrpSpPr>
        <p:grpSpPr>
          <a:xfrm>
            <a:off x="5534287" y="4369318"/>
            <a:ext cx="1127654" cy="1127656"/>
            <a:chOff x="5426333" y="4234235"/>
            <a:chExt cx="1127654" cy="1127656"/>
          </a:xfrm>
        </p:grpSpPr>
        <p:sp>
          <p:nvSpPr>
            <p:cNvPr id="3" name="Oval 2"/>
            <p:cNvSpPr/>
            <p:nvPr/>
          </p:nvSpPr>
          <p:spPr>
            <a:xfrm>
              <a:off x="542633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2" name="Group 21"/>
            <p:cNvGrpSpPr>
              <a:grpSpLocks noChangeAspect="1"/>
            </p:cNvGrpSpPr>
            <p:nvPr/>
          </p:nvGrpSpPr>
          <p:grpSpPr>
            <a:xfrm>
              <a:off x="5579060" y="4386583"/>
              <a:ext cx="822200" cy="822960"/>
              <a:chOff x="5273799" y="2606040"/>
              <a:chExt cx="1644396" cy="1645920"/>
            </a:xfrm>
          </p:grpSpPr>
          <p:sp>
            <p:nvSpPr>
              <p:cNvPr id="23" name="AutoShape 28">
                <a:extLst>
                  <a:ext uri="{FF2B5EF4-FFF2-40B4-BE49-F238E27FC236}">
                    <a16:creationId xmlns:a16="http://schemas.microsoft.com/office/drawing/2014/main" xmlns="" id="{7563FC07-0F95-4975-8A35-266F618BA3E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5537070" y="2899029"/>
                <a:ext cx="1119378" cy="1182243"/>
                <a:chOff x="5537070" y="2899029"/>
                <a:chExt cx="1119378" cy="1182243"/>
              </a:xfrm>
            </p:grpSpPr>
            <p:sp>
              <p:nvSpPr>
                <p:cNvPr id="25" name="Freeform 30">
                  <a:extLst>
                    <a:ext uri="{FF2B5EF4-FFF2-40B4-BE49-F238E27FC236}">
                      <a16:creationId xmlns:a16="http://schemas.microsoft.com/office/drawing/2014/main" xmlns="" id="{49BC73FE-6853-4419-AC44-1784975BCF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8594" y="2961894"/>
                  <a:ext cx="1116330" cy="961263"/>
                </a:xfrm>
                <a:custGeom>
                  <a:avLst/>
                  <a:gdLst>
                    <a:gd name="T0" fmla="*/ 752 w 1564"/>
                    <a:gd name="T1" fmla="*/ 1346 h 1346"/>
                    <a:gd name="T2" fmla="*/ 479 w 1564"/>
                    <a:gd name="T3" fmla="*/ 1346 h 1346"/>
                    <a:gd name="T4" fmla="*/ 469 w 1564"/>
                    <a:gd name="T5" fmla="*/ 1336 h 1346"/>
                    <a:gd name="T6" fmla="*/ 469 w 1564"/>
                    <a:gd name="T7" fmla="*/ 856 h 1346"/>
                    <a:gd name="T8" fmla="*/ 479 w 1564"/>
                    <a:gd name="T9" fmla="*/ 846 h 1346"/>
                    <a:gd name="T10" fmla="*/ 752 w 1564"/>
                    <a:gd name="T11" fmla="*/ 846 h 1346"/>
                    <a:gd name="T12" fmla="*/ 762 w 1564"/>
                    <a:gd name="T13" fmla="*/ 856 h 1346"/>
                    <a:gd name="T14" fmla="*/ 762 w 1564"/>
                    <a:gd name="T15" fmla="*/ 1336 h 1346"/>
                    <a:gd name="T16" fmla="*/ 752 w 1564"/>
                    <a:gd name="T17" fmla="*/ 1346 h 1346"/>
                    <a:gd name="T18" fmla="*/ 1095 w 1564"/>
                    <a:gd name="T19" fmla="*/ 1336 h 1346"/>
                    <a:gd name="T20" fmla="*/ 1095 w 1564"/>
                    <a:gd name="T21" fmla="*/ 856 h 1346"/>
                    <a:gd name="T22" fmla="*/ 1085 w 1564"/>
                    <a:gd name="T23" fmla="*/ 846 h 1346"/>
                    <a:gd name="T24" fmla="*/ 812 w 1564"/>
                    <a:gd name="T25" fmla="*/ 846 h 1346"/>
                    <a:gd name="T26" fmla="*/ 802 w 1564"/>
                    <a:gd name="T27" fmla="*/ 856 h 1346"/>
                    <a:gd name="T28" fmla="*/ 802 w 1564"/>
                    <a:gd name="T29" fmla="*/ 1336 h 1346"/>
                    <a:gd name="T30" fmla="*/ 812 w 1564"/>
                    <a:gd name="T31" fmla="*/ 1346 h 1346"/>
                    <a:gd name="T32" fmla="*/ 1085 w 1564"/>
                    <a:gd name="T33" fmla="*/ 1346 h 1346"/>
                    <a:gd name="T34" fmla="*/ 1095 w 1564"/>
                    <a:gd name="T35" fmla="*/ 1336 h 1346"/>
                    <a:gd name="T36" fmla="*/ 1554 w 1564"/>
                    <a:gd name="T37" fmla="*/ 372 h 1346"/>
                    <a:gd name="T38" fmla="*/ 1384 w 1564"/>
                    <a:gd name="T39" fmla="*/ 18 h 1346"/>
                    <a:gd name="T40" fmla="*/ 1360 w 1564"/>
                    <a:gd name="T41" fmla="*/ 0 h 1346"/>
                    <a:gd name="T42" fmla="*/ 205 w 1564"/>
                    <a:gd name="T43" fmla="*/ 0 h 1346"/>
                    <a:gd name="T44" fmla="*/ 180 w 1564"/>
                    <a:gd name="T45" fmla="*/ 20 h 1346"/>
                    <a:gd name="T46" fmla="*/ 10 w 1564"/>
                    <a:gd name="T47" fmla="*/ 370 h 1346"/>
                    <a:gd name="T48" fmla="*/ 34 w 1564"/>
                    <a:gd name="T49" fmla="*/ 408 h 1346"/>
                    <a:gd name="T50" fmla="*/ 1530 w 1564"/>
                    <a:gd name="T51" fmla="*/ 408 h 1346"/>
                    <a:gd name="T52" fmla="*/ 1554 w 1564"/>
                    <a:gd name="T53" fmla="*/ 372 h 1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64" h="1346">
                      <a:moveTo>
                        <a:pt x="752" y="1346"/>
                      </a:moveTo>
                      <a:cubicBezTo>
                        <a:pt x="479" y="1346"/>
                        <a:pt x="479" y="1346"/>
                        <a:pt x="479" y="1346"/>
                      </a:cubicBezTo>
                      <a:cubicBezTo>
                        <a:pt x="474" y="1346"/>
                        <a:pt x="469" y="1342"/>
                        <a:pt x="469" y="1336"/>
                      </a:cubicBezTo>
                      <a:cubicBezTo>
                        <a:pt x="469" y="856"/>
                        <a:pt x="469" y="856"/>
                        <a:pt x="469" y="856"/>
                      </a:cubicBezTo>
                      <a:cubicBezTo>
                        <a:pt x="469" y="851"/>
                        <a:pt x="474" y="846"/>
                        <a:pt x="479" y="846"/>
                      </a:cubicBezTo>
                      <a:cubicBezTo>
                        <a:pt x="752" y="846"/>
                        <a:pt x="752" y="846"/>
                        <a:pt x="752" y="846"/>
                      </a:cubicBezTo>
                      <a:cubicBezTo>
                        <a:pt x="758" y="846"/>
                        <a:pt x="762" y="851"/>
                        <a:pt x="762" y="856"/>
                      </a:cubicBezTo>
                      <a:cubicBezTo>
                        <a:pt x="762" y="1336"/>
                        <a:pt x="762" y="1336"/>
                        <a:pt x="762" y="1336"/>
                      </a:cubicBezTo>
                      <a:cubicBezTo>
                        <a:pt x="762" y="1342"/>
                        <a:pt x="758" y="1346"/>
                        <a:pt x="752" y="1346"/>
                      </a:cubicBezTo>
                      <a:close/>
                      <a:moveTo>
                        <a:pt x="1095" y="1336"/>
                      </a:moveTo>
                      <a:cubicBezTo>
                        <a:pt x="1095" y="856"/>
                        <a:pt x="1095" y="856"/>
                        <a:pt x="1095" y="856"/>
                      </a:cubicBezTo>
                      <a:cubicBezTo>
                        <a:pt x="1095" y="851"/>
                        <a:pt x="1090" y="846"/>
                        <a:pt x="1085" y="846"/>
                      </a:cubicBezTo>
                      <a:cubicBezTo>
                        <a:pt x="812" y="846"/>
                        <a:pt x="812" y="846"/>
                        <a:pt x="812" y="846"/>
                      </a:cubicBezTo>
                      <a:cubicBezTo>
                        <a:pt x="806" y="846"/>
                        <a:pt x="802" y="851"/>
                        <a:pt x="802" y="856"/>
                      </a:cubicBezTo>
                      <a:cubicBezTo>
                        <a:pt x="802" y="1336"/>
                        <a:pt x="802" y="1336"/>
                        <a:pt x="802" y="1336"/>
                      </a:cubicBezTo>
                      <a:cubicBezTo>
                        <a:pt x="802" y="1342"/>
                        <a:pt x="806" y="1346"/>
                        <a:pt x="812" y="1346"/>
                      </a:cubicBezTo>
                      <a:cubicBezTo>
                        <a:pt x="1085" y="1346"/>
                        <a:pt x="1085" y="1346"/>
                        <a:pt x="1085" y="1346"/>
                      </a:cubicBezTo>
                      <a:cubicBezTo>
                        <a:pt x="1090" y="1346"/>
                        <a:pt x="1095" y="1342"/>
                        <a:pt x="1095" y="1336"/>
                      </a:cubicBezTo>
                      <a:close/>
                      <a:moveTo>
                        <a:pt x="1554" y="372"/>
                      </a:moveTo>
                      <a:cubicBezTo>
                        <a:pt x="1384" y="18"/>
                        <a:pt x="1384" y="18"/>
                        <a:pt x="1384" y="18"/>
                      </a:cubicBezTo>
                      <a:cubicBezTo>
                        <a:pt x="1379" y="9"/>
                        <a:pt x="1370" y="0"/>
                        <a:pt x="1360" y="0"/>
                      </a:cubicBezTo>
                      <a:cubicBezTo>
                        <a:pt x="205" y="0"/>
                        <a:pt x="205" y="0"/>
                        <a:pt x="205" y="0"/>
                      </a:cubicBezTo>
                      <a:cubicBezTo>
                        <a:pt x="194" y="0"/>
                        <a:pt x="185" y="11"/>
                        <a:pt x="180" y="20"/>
                      </a:cubicBezTo>
                      <a:cubicBezTo>
                        <a:pt x="10" y="370"/>
                        <a:pt x="10" y="370"/>
                        <a:pt x="10" y="370"/>
                      </a:cubicBezTo>
                      <a:cubicBezTo>
                        <a:pt x="0" y="388"/>
                        <a:pt x="14" y="408"/>
                        <a:pt x="34" y="408"/>
                      </a:cubicBezTo>
                      <a:cubicBezTo>
                        <a:pt x="1530" y="408"/>
                        <a:pt x="1530" y="408"/>
                        <a:pt x="1530" y="408"/>
                      </a:cubicBezTo>
                      <a:cubicBezTo>
                        <a:pt x="1551" y="408"/>
                        <a:pt x="1564" y="391"/>
                        <a:pt x="1554" y="372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26" name="Freeform 31">
                  <a:extLst>
                    <a:ext uri="{FF2B5EF4-FFF2-40B4-BE49-F238E27FC236}">
                      <a16:creationId xmlns:a16="http://schemas.microsoft.com/office/drawing/2014/main" xmlns="" id="{76C2B07B-CC10-467E-80DB-D1179FF6D7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7070" y="2899029"/>
                  <a:ext cx="1119378" cy="1182243"/>
                </a:xfrm>
                <a:custGeom>
                  <a:avLst/>
                  <a:gdLst>
                    <a:gd name="T0" fmla="*/ 1524 w 1568"/>
                    <a:gd name="T1" fmla="*/ 1529 h 1655"/>
                    <a:gd name="T2" fmla="*/ 1459 w 1568"/>
                    <a:gd name="T3" fmla="*/ 1529 h 1655"/>
                    <a:gd name="T4" fmla="*/ 1459 w 1568"/>
                    <a:gd name="T5" fmla="*/ 1500 h 1655"/>
                    <a:gd name="T6" fmla="*/ 1438 w 1568"/>
                    <a:gd name="T7" fmla="*/ 1478 h 1655"/>
                    <a:gd name="T8" fmla="*/ 130 w 1568"/>
                    <a:gd name="T9" fmla="*/ 1478 h 1655"/>
                    <a:gd name="T10" fmla="*/ 109 w 1568"/>
                    <a:gd name="T11" fmla="*/ 1500 h 1655"/>
                    <a:gd name="T12" fmla="*/ 109 w 1568"/>
                    <a:gd name="T13" fmla="*/ 1529 h 1655"/>
                    <a:gd name="T14" fmla="*/ 44 w 1568"/>
                    <a:gd name="T15" fmla="*/ 1529 h 1655"/>
                    <a:gd name="T16" fmla="*/ 23 w 1568"/>
                    <a:gd name="T17" fmla="*/ 1551 h 1655"/>
                    <a:gd name="T18" fmla="*/ 23 w 1568"/>
                    <a:gd name="T19" fmla="*/ 1634 h 1655"/>
                    <a:gd name="T20" fmla="*/ 44 w 1568"/>
                    <a:gd name="T21" fmla="*/ 1655 h 1655"/>
                    <a:gd name="T22" fmla="*/ 1524 w 1568"/>
                    <a:gd name="T23" fmla="*/ 1655 h 1655"/>
                    <a:gd name="T24" fmla="*/ 1545 w 1568"/>
                    <a:gd name="T25" fmla="*/ 1634 h 1655"/>
                    <a:gd name="T26" fmla="*/ 1545 w 1568"/>
                    <a:gd name="T27" fmla="*/ 1551 h 1655"/>
                    <a:gd name="T28" fmla="*/ 1524 w 1568"/>
                    <a:gd name="T29" fmla="*/ 1529 h 1655"/>
                    <a:gd name="T30" fmla="*/ 1568 w 1568"/>
                    <a:gd name="T31" fmla="*/ 562 h 1655"/>
                    <a:gd name="T32" fmla="*/ 1568 w 1568"/>
                    <a:gd name="T33" fmla="*/ 583 h 1655"/>
                    <a:gd name="T34" fmla="*/ 1568 w 1568"/>
                    <a:gd name="T35" fmla="*/ 583 h 1655"/>
                    <a:gd name="T36" fmla="*/ 1394 w 1568"/>
                    <a:gd name="T37" fmla="*/ 778 h 1655"/>
                    <a:gd name="T38" fmla="*/ 1394 w 1568"/>
                    <a:gd name="T39" fmla="*/ 1434 h 1655"/>
                    <a:gd name="T40" fmla="*/ 1350 w 1568"/>
                    <a:gd name="T41" fmla="*/ 1434 h 1655"/>
                    <a:gd name="T42" fmla="*/ 1350 w 1568"/>
                    <a:gd name="T43" fmla="*/ 778 h 1655"/>
                    <a:gd name="T44" fmla="*/ 1176 w 1568"/>
                    <a:gd name="T45" fmla="*/ 588 h 1655"/>
                    <a:gd name="T46" fmla="*/ 980 w 1568"/>
                    <a:gd name="T47" fmla="*/ 779 h 1655"/>
                    <a:gd name="T48" fmla="*/ 784 w 1568"/>
                    <a:gd name="T49" fmla="*/ 588 h 1655"/>
                    <a:gd name="T50" fmla="*/ 588 w 1568"/>
                    <a:gd name="T51" fmla="*/ 779 h 1655"/>
                    <a:gd name="T52" fmla="*/ 392 w 1568"/>
                    <a:gd name="T53" fmla="*/ 588 h 1655"/>
                    <a:gd name="T54" fmla="*/ 218 w 1568"/>
                    <a:gd name="T55" fmla="*/ 778 h 1655"/>
                    <a:gd name="T56" fmla="*/ 218 w 1568"/>
                    <a:gd name="T57" fmla="*/ 1434 h 1655"/>
                    <a:gd name="T58" fmla="*/ 174 w 1568"/>
                    <a:gd name="T59" fmla="*/ 1434 h 1655"/>
                    <a:gd name="T60" fmla="*/ 174 w 1568"/>
                    <a:gd name="T61" fmla="*/ 778 h 1655"/>
                    <a:gd name="T62" fmla="*/ 0 w 1568"/>
                    <a:gd name="T63" fmla="*/ 583 h 1655"/>
                    <a:gd name="T64" fmla="*/ 0 w 1568"/>
                    <a:gd name="T65" fmla="*/ 583 h 1655"/>
                    <a:gd name="T66" fmla="*/ 0 w 1568"/>
                    <a:gd name="T67" fmla="*/ 562 h 1655"/>
                    <a:gd name="T68" fmla="*/ 22 w 1568"/>
                    <a:gd name="T69" fmla="*/ 540 h 1655"/>
                    <a:gd name="T70" fmla="*/ 1546 w 1568"/>
                    <a:gd name="T71" fmla="*/ 540 h 1655"/>
                    <a:gd name="T72" fmla="*/ 1568 w 1568"/>
                    <a:gd name="T73" fmla="*/ 562 h 1655"/>
                    <a:gd name="T74" fmla="*/ 1354 w 1568"/>
                    <a:gd name="T75" fmla="*/ 44 h 1655"/>
                    <a:gd name="T76" fmla="*/ 214 w 1568"/>
                    <a:gd name="T77" fmla="*/ 44 h 1655"/>
                    <a:gd name="T78" fmla="*/ 192 w 1568"/>
                    <a:gd name="T79" fmla="*/ 22 h 1655"/>
                    <a:gd name="T80" fmla="*/ 214 w 1568"/>
                    <a:gd name="T81" fmla="*/ 0 h 1655"/>
                    <a:gd name="T82" fmla="*/ 1354 w 1568"/>
                    <a:gd name="T83" fmla="*/ 0 h 1655"/>
                    <a:gd name="T84" fmla="*/ 1376 w 1568"/>
                    <a:gd name="T85" fmla="*/ 22 h 1655"/>
                    <a:gd name="T86" fmla="*/ 1354 w 1568"/>
                    <a:gd name="T87" fmla="*/ 44 h 16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68" h="1655">
                      <a:moveTo>
                        <a:pt x="1524" y="1529"/>
                      </a:moveTo>
                      <a:cubicBezTo>
                        <a:pt x="1459" y="1529"/>
                        <a:pt x="1459" y="1529"/>
                        <a:pt x="1459" y="1529"/>
                      </a:cubicBezTo>
                      <a:cubicBezTo>
                        <a:pt x="1459" y="1500"/>
                        <a:pt x="1459" y="1500"/>
                        <a:pt x="1459" y="1500"/>
                      </a:cubicBezTo>
                      <a:cubicBezTo>
                        <a:pt x="1459" y="1488"/>
                        <a:pt x="1450" y="1478"/>
                        <a:pt x="1438" y="1478"/>
                      </a:cubicBezTo>
                      <a:cubicBezTo>
                        <a:pt x="130" y="1478"/>
                        <a:pt x="130" y="1478"/>
                        <a:pt x="130" y="1478"/>
                      </a:cubicBezTo>
                      <a:cubicBezTo>
                        <a:pt x="118" y="1478"/>
                        <a:pt x="109" y="1488"/>
                        <a:pt x="109" y="1500"/>
                      </a:cubicBezTo>
                      <a:cubicBezTo>
                        <a:pt x="109" y="1529"/>
                        <a:pt x="109" y="1529"/>
                        <a:pt x="109" y="1529"/>
                      </a:cubicBezTo>
                      <a:cubicBezTo>
                        <a:pt x="44" y="1529"/>
                        <a:pt x="44" y="1529"/>
                        <a:pt x="44" y="1529"/>
                      </a:cubicBezTo>
                      <a:cubicBezTo>
                        <a:pt x="32" y="1529"/>
                        <a:pt x="23" y="1539"/>
                        <a:pt x="23" y="1551"/>
                      </a:cubicBezTo>
                      <a:cubicBezTo>
                        <a:pt x="23" y="1634"/>
                        <a:pt x="23" y="1634"/>
                        <a:pt x="23" y="1634"/>
                      </a:cubicBezTo>
                      <a:cubicBezTo>
                        <a:pt x="23" y="1646"/>
                        <a:pt x="32" y="1655"/>
                        <a:pt x="44" y="1655"/>
                      </a:cubicBezTo>
                      <a:cubicBezTo>
                        <a:pt x="1524" y="1655"/>
                        <a:pt x="1524" y="1655"/>
                        <a:pt x="1524" y="1655"/>
                      </a:cubicBezTo>
                      <a:cubicBezTo>
                        <a:pt x="1536" y="1655"/>
                        <a:pt x="1545" y="1646"/>
                        <a:pt x="1545" y="1634"/>
                      </a:cubicBezTo>
                      <a:cubicBezTo>
                        <a:pt x="1545" y="1551"/>
                        <a:pt x="1545" y="1551"/>
                        <a:pt x="1545" y="1551"/>
                      </a:cubicBezTo>
                      <a:cubicBezTo>
                        <a:pt x="1545" y="1539"/>
                        <a:pt x="1536" y="1529"/>
                        <a:pt x="1524" y="1529"/>
                      </a:cubicBezTo>
                      <a:close/>
                      <a:moveTo>
                        <a:pt x="1568" y="562"/>
                      </a:move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684"/>
                        <a:pt x="1491" y="767"/>
                        <a:pt x="1394" y="778"/>
                      </a:cubicBezTo>
                      <a:cubicBezTo>
                        <a:pt x="1394" y="1434"/>
                        <a:pt x="1394" y="1434"/>
                        <a:pt x="1394" y="1434"/>
                      </a:cubicBezTo>
                      <a:cubicBezTo>
                        <a:pt x="1350" y="1434"/>
                        <a:pt x="1350" y="1434"/>
                        <a:pt x="1350" y="1434"/>
                      </a:cubicBezTo>
                      <a:cubicBezTo>
                        <a:pt x="1350" y="778"/>
                        <a:pt x="1350" y="778"/>
                        <a:pt x="1350" y="778"/>
                      </a:cubicBezTo>
                      <a:cubicBezTo>
                        <a:pt x="1253" y="767"/>
                        <a:pt x="1178" y="687"/>
                        <a:pt x="1176" y="588"/>
                      </a:cubicBezTo>
                      <a:cubicBezTo>
                        <a:pt x="1173" y="694"/>
                        <a:pt x="1086" y="779"/>
                        <a:pt x="980" y="779"/>
                      </a:cubicBezTo>
                      <a:cubicBezTo>
                        <a:pt x="873" y="779"/>
                        <a:pt x="787" y="694"/>
                        <a:pt x="784" y="588"/>
                      </a:cubicBezTo>
                      <a:cubicBezTo>
                        <a:pt x="781" y="694"/>
                        <a:pt x="695" y="779"/>
                        <a:pt x="588" y="779"/>
                      </a:cubicBezTo>
                      <a:cubicBezTo>
                        <a:pt x="482" y="779"/>
                        <a:pt x="395" y="694"/>
                        <a:pt x="392" y="588"/>
                      </a:cubicBezTo>
                      <a:cubicBezTo>
                        <a:pt x="390" y="687"/>
                        <a:pt x="315" y="767"/>
                        <a:pt x="218" y="778"/>
                      </a:cubicBezTo>
                      <a:cubicBezTo>
                        <a:pt x="218" y="1434"/>
                        <a:pt x="218" y="1434"/>
                        <a:pt x="218" y="1434"/>
                      </a:cubicBezTo>
                      <a:cubicBezTo>
                        <a:pt x="174" y="1434"/>
                        <a:pt x="174" y="1434"/>
                        <a:pt x="174" y="1434"/>
                      </a:cubicBezTo>
                      <a:cubicBezTo>
                        <a:pt x="174" y="778"/>
                        <a:pt x="174" y="778"/>
                        <a:pt x="174" y="778"/>
                      </a:cubicBezTo>
                      <a:cubicBezTo>
                        <a:pt x="77" y="767"/>
                        <a:pt x="0" y="684"/>
                        <a:pt x="0" y="583"/>
                      </a:cubicBezTo>
                      <a:cubicBezTo>
                        <a:pt x="0" y="583"/>
                        <a:pt x="0" y="583"/>
                        <a:pt x="0" y="583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49"/>
                        <a:pt x="10" y="540"/>
                        <a:pt x="22" y="540"/>
                      </a:cubicBezTo>
                      <a:cubicBezTo>
                        <a:pt x="1546" y="540"/>
                        <a:pt x="1546" y="540"/>
                        <a:pt x="1546" y="540"/>
                      </a:cubicBezTo>
                      <a:cubicBezTo>
                        <a:pt x="1558" y="540"/>
                        <a:pt x="1568" y="549"/>
                        <a:pt x="1568" y="562"/>
                      </a:cubicBezTo>
                      <a:close/>
                      <a:moveTo>
                        <a:pt x="1354" y="44"/>
                      </a:moveTo>
                      <a:cubicBezTo>
                        <a:pt x="214" y="44"/>
                        <a:pt x="214" y="44"/>
                        <a:pt x="214" y="44"/>
                      </a:cubicBezTo>
                      <a:cubicBezTo>
                        <a:pt x="202" y="44"/>
                        <a:pt x="192" y="34"/>
                        <a:pt x="192" y="22"/>
                      </a:cubicBezTo>
                      <a:cubicBezTo>
                        <a:pt x="192" y="10"/>
                        <a:pt x="202" y="0"/>
                        <a:pt x="214" y="0"/>
                      </a:cubicBezTo>
                      <a:cubicBezTo>
                        <a:pt x="1354" y="0"/>
                        <a:pt x="1354" y="0"/>
                        <a:pt x="1354" y="0"/>
                      </a:cubicBezTo>
                      <a:cubicBezTo>
                        <a:pt x="1366" y="0"/>
                        <a:pt x="1376" y="10"/>
                        <a:pt x="1376" y="22"/>
                      </a:cubicBezTo>
                      <a:cubicBezTo>
                        <a:pt x="1376" y="34"/>
                        <a:pt x="1366" y="44"/>
                        <a:pt x="1354" y="44"/>
                      </a:cubicBez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151" name="Group 150"/>
          <p:cNvGrpSpPr/>
          <p:nvPr/>
        </p:nvGrpSpPr>
        <p:grpSpPr>
          <a:xfrm>
            <a:off x="7786507" y="4369318"/>
            <a:ext cx="1127654" cy="1127656"/>
            <a:chOff x="7678553" y="4234235"/>
            <a:chExt cx="1127654" cy="1127656"/>
          </a:xfrm>
        </p:grpSpPr>
        <p:sp>
          <p:nvSpPr>
            <p:cNvPr id="5" name="Oval 4"/>
            <p:cNvSpPr/>
            <p:nvPr/>
          </p:nvSpPr>
          <p:spPr>
            <a:xfrm>
              <a:off x="767855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7" name="bcgIcons_CashRegister">
              <a:extLst>
                <a:ext uri="{FF2B5EF4-FFF2-40B4-BE49-F238E27FC236}">
                  <a16:creationId xmlns:a16="http://schemas.microsoft.com/office/drawing/2014/main" xmlns="" id="{1CA5B7BC-38C6-4110-B472-469458A7E4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31280" y="4386583"/>
              <a:ext cx="822200" cy="822960"/>
              <a:chOff x="1682" y="0"/>
              <a:chExt cx="4316" cy="4320"/>
            </a:xfrm>
          </p:grpSpPr>
          <p:sp>
            <p:nvSpPr>
              <p:cNvPr id="28" name="AutoShape 23">
                <a:extLst>
                  <a:ext uri="{FF2B5EF4-FFF2-40B4-BE49-F238E27FC236}">
                    <a16:creationId xmlns:a16="http://schemas.microsoft.com/office/drawing/2014/main" xmlns="" id="{B9A507EE-595A-4699-B9C1-2BCC319EBEE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9" name="Freeform 25">
                <a:extLst>
                  <a:ext uri="{FF2B5EF4-FFF2-40B4-BE49-F238E27FC236}">
                    <a16:creationId xmlns:a16="http://schemas.microsoft.com/office/drawing/2014/main" xmlns="" id="{3EC6DBE2-FD65-4511-A012-BE0A009ED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8" y="844"/>
                <a:ext cx="1926" cy="1665"/>
              </a:xfrm>
              <a:custGeom>
                <a:avLst/>
                <a:gdLst>
                  <a:gd name="T0" fmla="*/ 22 w 1028"/>
                  <a:gd name="T1" fmla="*/ 518 h 888"/>
                  <a:gd name="T2" fmla="*/ 22 w 1028"/>
                  <a:gd name="T3" fmla="*/ 474 h 888"/>
                  <a:gd name="T4" fmla="*/ 241 w 1028"/>
                  <a:gd name="T5" fmla="*/ 496 h 888"/>
                  <a:gd name="T6" fmla="*/ 241 w 1028"/>
                  <a:gd name="T7" fmla="*/ 400 h 888"/>
                  <a:gd name="T8" fmla="*/ 22 w 1028"/>
                  <a:gd name="T9" fmla="*/ 378 h 888"/>
                  <a:gd name="T10" fmla="*/ 22 w 1028"/>
                  <a:gd name="T11" fmla="*/ 422 h 888"/>
                  <a:gd name="T12" fmla="*/ 241 w 1028"/>
                  <a:gd name="T13" fmla="*/ 400 h 888"/>
                  <a:gd name="T14" fmla="*/ 219 w 1028"/>
                  <a:gd name="T15" fmla="*/ 281 h 888"/>
                  <a:gd name="T16" fmla="*/ 0 w 1028"/>
                  <a:gd name="T17" fmla="*/ 303 h 888"/>
                  <a:gd name="T18" fmla="*/ 219 w 1028"/>
                  <a:gd name="T19" fmla="*/ 325 h 888"/>
                  <a:gd name="T20" fmla="*/ 241 w 1028"/>
                  <a:gd name="T21" fmla="*/ 207 h 888"/>
                  <a:gd name="T22" fmla="*/ 22 w 1028"/>
                  <a:gd name="T23" fmla="*/ 185 h 888"/>
                  <a:gd name="T24" fmla="*/ 22 w 1028"/>
                  <a:gd name="T25" fmla="*/ 229 h 888"/>
                  <a:gd name="T26" fmla="*/ 241 w 1028"/>
                  <a:gd name="T27" fmla="*/ 207 h 888"/>
                  <a:gd name="T28" fmla="*/ 1028 w 1028"/>
                  <a:gd name="T29" fmla="*/ 388 h 888"/>
                  <a:gd name="T30" fmla="*/ 554 w 1028"/>
                  <a:gd name="T31" fmla="*/ 378 h 888"/>
                  <a:gd name="T32" fmla="*/ 544 w 1028"/>
                  <a:gd name="T33" fmla="*/ 529 h 888"/>
                  <a:gd name="T34" fmla="*/ 1018 w 1028"/>
                  <a:gd name="T35" fmla="*/ 539 h 888"/>
                  <a:gd name="T36" fmla="*/ 1016 w 1028"/>
                  <a:gd name="T37" fmla="*/ 136 h 888"/>
                  <a:gd name="T38" fmla="*/ 1006 w 1028"/>
                  <a:gd name="T39" fmla="*/ 0 h 888"/>
                  <a:gd name="T40" fmla="*/ 556 w 1028"/>
                  <a:gd name="T41" fmla="*/ 10 h 888"/>
                  <a:gd name="T42" fmla="*/ 566 w 1028"/>
                  <a:gd name="T43" fmla="*/ 146 h 888"/>
                  <a:gd name="T44" fmla="*/ 1016 w 1028"/>
                  <a:gd name="T45" fmla="*/ 136 h 888"/>
                  <a:gd name="T46" fmla="*/ 676 w 1028"/>
                  <a:gd name="T47" fmla="*/ 617 h 888"/>
                  <a:gd name="T48" fmla="*/ 594 w 1028"/>
                  <a:gd name="T49" fmla="*/ 595 h 888"/>
                  <a:gd name="T50" fmla="*/ 572 w 1028"/>
                  <a:gd name="T51" fmla="*/ 638 h 888"/>
                  <a:gd name="T52" fmla="*/ 654 w 1028"/>
                  <a:gd name="T53" fmla="*/ 660 h 888"/>
                  <a:gd name="T54" fmla="*/ 843 w 1028"/>
                  <a:gd name="T55" fmla="*/ 638 h 888"/>
                  <a:gd name="T56" fmla="*/ 821 w 1028"/>
                  <a:gd name="T57" fmla="*/ 595 h 888"/>
                  <a:gd name="T58" fmla="*/ 738 w 1028"/>
                  <a:gd name="T59" fmla="*/ 617 h 888"/>
                  <a:gd name="T60" fmla="*/ 760 w 1028"/>
                  <a:gd name="T61" fmla="*/ 660 h 888"/>
                  <a:gd name="T62" fmla="*/ 843 w 1028"/>
                  <a:gd name="T63" fmla="*/ 638 h 888"/>
                  <a:gd name="T64" fmla="*/ 676 w 1028"/>
                  <a:gd name="T65" fmla="*/ 731 h 888"/>
                  <a:gd name="T66" fmla="*/ 594 w 1028"/>
                  <a:gd name="T67" fmla="*/ 709 h 888"/>
                  <a:gd name="T68" fmla="*/ 572 w 1028"/>
                  <a:gd name="T69" fmla="*/ 752 h 888"/>
                  <a:gd name="T70" fmla="*/ 654 w 1028"/>
                  <a:gd name="T71" fmla="*/ 774 h 888"/>
                  <a:gd name="T72" fmla="*/ 843 w 1028"/>
                  <a:gd name="T73" fmla="*/ 752 h 888"/>
                  <a:gd name="T74" fmla="*/ 821 w 1028"/>
                  <a:gd name="T75" fmla="*/ 709 h 888"/>
                  <a:gd name="T76" fmla="*/ 738 w 1028"/>
                  <a:gd name="T77" fmla="*/ 731 h 888"/>
                  <a:gd name="T78" fmla="*/ 760 w 1028"/>
                  <a:gd name="T79" fmla="*/ 774 h 888"/>
                  <a:gd name="T80" fmla="*/ 843 w 1028"/>
                  <a:gd name="T81" fmla="*/ 752 h 888"/>
                  <a:gd name="T82" fmla="*/ 676 w 1028"/>
                  <a:gd name="T83" fmla="*/ 845 h 888"/>
                  <a:gd name="T84" fmla="*/ 594 w 1028"/>
                  <a:gd name="T85" fmla="*/ 823 h 888"/>
                  <a:gd name="T86" fmla="*/ 572 w 1028"/>
                  <a:gd name="T87" fmla="*/ 866 h 888"/>
                  <a:gd name="T88" fmla="*/ 654 w 1028"/>
                  <a:gd name="T89" fmla="*/ 888 h 888"/>
                  <a:gd name="T90" fmla="*/ 843 w 1028"/>
                  <a:gd name="T91" fmla="*/ 866 h 888"/>
                  <a:gd name="T92" fmla="*/ 821 w 1028"/>
                  <a:gd name="T93" fmla="*/ 823 h 888"/>
                  <a:gd name="T94" fmla="*/ 738 w 1028"/>
                  <a:gd name="T95" fmla="*/ 845 h 888"/>
                  <a:gd name="T96" fmla="*/ 760 w 1028"/>
                  <a:gd name="T97" fmla="*/ 888 h 888"/>
                  <a:gd name="T98" fmla="*/ 843 w 1028"/>
                  <a:gd name="T99" fmla="*/ 866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28" h="888">
                    <a:moveTo>
                      <a:pt x="219" y="518"/>
                    </a:moveTo>
                    <a:cubicBezTo>
                      <a:pt x="22" y="518"/>
                      <a:pt x="22" y="518"/>
                      <a:pt x="22" y="518"/>
                    </a:cubicBezTo>
                    <a:cubicBezTo>
                      <a:pt x="10" y="518"/>
                      <a:pt x="0" y="508"/>
                      <a:pt x="0" y="496"/>
                    </a:cubicBezTo>
                    <a:cubicBezTo>
                      <a:pt x="0" y="484"/>
                      <a:pt x="10" y="474"/>
                      <a:pt x="22" y="474"/>
                    </a:cubicBezTo>
                    <a:cubicBezTo>
                      <a:pt x="219" y="474"/>
                      <a:pt x="219" y="474"/>
                      <a:pt x="219" y="474"/>
                    </a:cubicBezTo>
                    <a:cubicBezTo>
                      <a:pt x="231" y="474"/>
                      <a:pt x="241" y="484"/>
                      <a:pt x="241" y="496"/>
                    </a:cubicBezTo>
                    <a:cubicBezTo>
                      <a:pt x="241" y="508"/>
                      <a:pt x="231" y="518"/>
                      <a:pt x="219" y="518"/>
                    </a:cubicBezTo>
                    <a:close/>
                    <a:moveTo>
                      <a:pt x="241" y="400"/>
                    </a:moveTo>
                    <a:cubicBezTo>
                      <a:pt x="241" y="388"/>
                      <a:pt x="231" y="378"/>
                      <a:pt x="219" y="378"/>
                    </a:cubicBezTo>
                    <a:cubicBezTo>
                      <a:pt x="22" y="378"/>
                      <a:pt x="22" y="378"/>
                      <a:pt x="22" y="378"/>
                    </a:cubicBezTo>
                    <a:cubicBezTo>
                      <a:pt x="10" y="378"/>
                      <a:pt x="0" y="388"/>
                      <a:pt x="0" y="400"/>
                    </a:cubicBezTo>
                    <a:cubicBezTo>
                      <a:pt x="0" y="412"/>
                      <a:pt x="10" y="422"/>
                      <a:pt x="22" y="422"/>
                    </a:cubicBezTo>
                    <a:cubicBezTo>
                      <a:pt x="219" y="422"/>
                      <a:pt x="219" y="422"/>
                      <a:pt x="219" y="422"/>
                    </a:cubicBezTo>
                    <a:cubicBezTo>
                      <a:pt x="231" y="422"/>
                      <a:pt x="241" y="412"/>
                      <a:pt x="241" y="400"/>
                    </a:cubicBezTo>
                    <a:close/>
                    <a:moveTo>
                      <a:pt x="241" y="303"/>
                    </a:moveTo>
                    <a:cubicBezTo>
                      <a:pt x="241" y="291"/>
                      <a:pt x="231" y="281"/>
                      <a:pt x="219" y="281"/>
                    </a:cubicBezTo>
                    <a:cubicBezTo>
                      <a:pt x="22" y="281"/>
                      <a:pt x="22" y="281"/>
                      <a:pt x="22" y="281"/>
                    </a:cubicBezTo>
                    <a:cubicBezTo>
                      <a:pt x="10" y="281"/>
                      <a:pt x="0" y="291"/>
                      <a:pt x="0" y="303"/>
                    </a:cubicBezTo>
                    <a:cubicBezTo>
                      <a:pt x="0" y="316"/>
                      <a:pt x="10" y="325"/>
                      <a:pt x="22" y="325"/>
                    </a:cubicBezTo>
                    <a:cubicBezTo>
                      <a:pt x="219" y="325"/>
                      <a:pt x="219" y="325"/>
                      <a:pt x="219" y="325"/>
                    </a:cubicBezTo>
                    <a:cubicBezTo>
                      <a:pt x="231" y="325"/>
                      <a:pt x="241" y="316"/>
                      <a:pt x="241" y="303"/>
                    </a:cubicBezTo>
                    <a:close/>
                    <a:moveTo>
                      <a:pt x="241" y="207"/>
                    </a:moveTo>
                    <a:cubicBezTo>
                      <a:pt x="241" y="195"/>
                      <a:pt x="231" y="185"/>
                      <a:pt x="219" y="185"/>
                    </a:cubicBezTo>
                    <a:cubicBezTo>
                      <a:pt x="22" y="185"/>
                      <a:pt x="22" y="185"/>
                      <a:pt x="22" y="185"/>
                    </a:cubicBezTo>
                    <a:cubicBezTo>
                      <a:pt x="10" y="185"/>
                      <a:pt x="0" y="195"/>
                      <a:pt x="0" y="207"/>
                    </a:cubicBezTo>
                    <a:cubicBezTo>
                      <a:pt x="0" y="219"/>
                      <a:pt x="10" y="229"/>
                      <a:pt x="22" y="229"/>
                    </a:cubicBezTo>
                    <a:cubicBezTo>
                      <a:pt x="219" y="229"/>
                      <a:pt x="219" y="229"/>
                      <a:pt x="219" y="229"/>
                    </a:cubicBezTo>
                    <a:cubicBezTo>
                      <a:pt x="231" y="229"/>
                      <a:pt x="241" y="219"/>
                      <a:pt x="241" y="207"/>
                    </a:cubicBezTo>
                    <a:close/>
                    <a:moveTo>
                      <a:pt x="1028" y="529"/>
                    </a:moveTo>
                    <a:cubicBezTo>
                      <a:pt x="1028" y="388"/>
                      <a:pt x="1028" y="388"/>
                      <a:pt x="1028" y="388"/>
                    </a:cubicBezTo>
                    <a:cubicBezTo>
                      <a:pt x="1028" y="382"/>
                      <a:pt x="1023" y="378"/>
                      <a:pt x="1018" y="378"/>
                    </a:cubicBezTo>
                    <a:cubicBezTo>
                      <a:pt x="554" y="378"/>
                      <a:pt x="554" y="378"/>
                      <a:pt x="554" y="378"/>
                    </a:cubicBezTo>
                    <a:cubicBezTo>
                      <a:pt x="549" y="378"/>
                      <a:pt x="544" y="382"/>
                      <a:pt x="544" y="388"/>
                    </a:cubicBezTo>
                    <a:cubicBezTo>
                      <a:pt x="544" y="529"/>
                      <a:pt x="544" y="529"/>
                      <a:pt x="544" y="529"/>
                    </a:cubicBezTo>
                    <a:cubicBezTo>
                      <a:pt x="544" y="535"/>
                      <a:pt x="549" y="539"/>
                      <a:pt x="554" y="539"/>
                    </a:cubicBezTo>
                    <a:cubicBezTo>
                      <a:pt x="1018" y="539"/>
                      <a:pt x="1018" y="539"/>
                      <a:pt x="1018" y="539"/>
                    </a:cubicBezTo>
                    <a:cubicBezTo>
                      <a:pt x="1023" y="539"/>
                      <a:pt x="1028" y="535"/>
                      <a:pt x="1028" y="529"/>
                    </a:cubicBezTo>
                    <a:close/>
                    <a:moveTo>
                      <a:pt x="1016" y="136"/>
                    </a:moveTo>
                    <a:cubicBezTo>
                      <a:pt x="1016" y="10"/>
                      <a:pt x="1016" y="10"/>
                      <a:pt x="1016" y="10"/>
                    </a:cubicBezTo>
                    <a:cubicBezTo>
                      <a:pt x="1016" y="4"/>
                      <a:pt x="1012" y="0"/>
                      <a:pt x="1006" y="0"/>
                    </a:cubicBezTo>
                    <a:cubicBezTo>
                      <a:pt x="566" y="0"/>
                      <a:pt x="566" y="0"/>
                      <a:pt x="566" y="0"/>
                    </a:cubicBezTo>
                    <a:cubicBezTo>
                      <a:pt x="560" y="0"/>
                      <a:pt x="556" y="4"/>
                      <a:pt x="556" y="10"/>
                    </a:cubicBezTo>
                    <a:cubicBezTo>
                      <a:pt x="556" y="136"/>
                      <a:pt x="556" y="136"/>
                      <a:pt x="556" y="136"/>
                    </a:cubicBezTo>
                    <a:cubicBezTo>
                      <a:pt x="556" y="142"/>
                      <a:pt x="560" y="146"/>
                      <a:pt x="566" y="146"/>
                    </a:cubicBezTo>
                    <a:cubicBezTo>
                      <a:pt x="1006" y="146"/>
                      <a:pt x="1006" y="146"/>
                      <a:pt x="1006" y="146"/>
                    </a:cubicBezTo>
                    <a:cubicBezTo>
                      <a:pt x="1012" y="146"/>
                      <a:pt x="1016" y="142"/>
                      <a:pt x="1016" y="136"/>
                    </a:cubicBezTo>
                    <a:close/>
                    <a:moveTo>
                      <a:pt x="676" y="638"/>
                    </a:moveTo>
                    <a:cubicBezTo>
                      <a:pt x="676" y="617"/>
                      <a:pt x="676" y="617"/>
                      <a:pt x="676" y="617"/>
                    </a:cubicBezTo>
                    <a:cubicBezTo>
                      <a:pt x="676" y="605"/>
                      <a:pt x="666" y="595"/>
                      <a:pt x="654" y="595"/>
                    </a:cubicBezTo>
                    <a:cubicBezTo>
                      <a:pt x="594" y="595"/>
                      <a:pt x="594" y="595"/>
                      <a:pt x="594" y="595"/>
                    </a:cubicBezTo>
                    <a:cubicBezTo>
                      <a:pt x="582" y="595"/>
                      <a:pt x="572" y="605"/>
                      <a:pt x="572" y="617"/>
                    </a:cubicBezTo>
                    <a:cubicBezTo>
                      <a:pt x="572" y="638"/>
                      <a:pt x="572" y="638"/>
                      <a:pt x="572" y="638"/>
                    </a:cubicBezTo>
                    <a:cubicBezTo>
                      <a:pt x="572" y="650"/>
                      <a:pt x="582" y="660"/>
                      <a:pt x="594" y="660"/>
                    </a:cubicBezTo>
                    <a:cubicBezTo>
                      <a:pt x="654" y="660"/>
                      <a:pt x="654" y="660"/>
                      <a:pt x="654" y="660"/>
                    </a:cubicBezTo>
                    <a:cubicBezTo>
                      <a:pt x="666" y="660"/>
                      <a:pt x="676" y="650"/>
                      <a:pt x="676" y="638"/>
                    </a:cubicBezTo>
                    <a:close/>
                    <a:moveTo>
                      <a:pt x="843" y="638"/>
                    </a:moveTo>
                    <a:cubicBezTo>
                      <a:pt x="843" y="617"/>
                      <a:pt x="843" y="617"/>
                      <a:pt x="843" y="617"/>
                    </a:cubicBezTo>
                    <a:cubicBezTo>
                      <a:pt x="843" y="605"/>
                      <a:pt x="833" y="595"/>
                      <a:pt x="821" y="595"/>
                    </a:cubicBezTo>
                    <a:cubicBezTo>
                      <a:pt x="760" y="595"/>
                      <a:pt x="760" y="595"/>
                      <a:pt x="760" y="595"/>
                    </a:cubicBezTo>
                    <a:cubicBezTo>
                      <a:pt x="748" y="595"/>
                      <a:pt x="738" y="605"/>
                      <a:pt x="738" y="617"/>
                    </a:cubicBezTo>
                    <a:cubicBezTo>
                      <a:pt x="738" y="638"/>
                      <a:pt x="738" y="638"/>
                      <a:pt x="738" y="638"/>
                    </a:cubicBezTo>
                    <a:cubicBezTo>
                      <a:pt x="738" y="650"/>
                      <a:pt x="748" y="660"/>
                      <a:pt x="760" y="660"/>
                    </a:cubicBezTo>
                    <a:cubicBezTo>
                      <a:pt x="821" y="660"/>
                      <a:pt x="821" y="660"/>
                      <a:pt x="821" y="660"/>
                    </a:cubicBezTo>
                    <a:cubicBezTo>
                      <a:pt x="833" y="660"/>
                      <a:pt x="843" y="650"/>
                      <a:pt x="843" y="638"/>
                    </a:cubicBezTo>
                    <a:close/>
                    <a:moveTo>
                      <a:pt x="676" y="752"/>
                    </a:moveTo>
                    <a:cubicBezTo>
                      <a:pt x="676" y="731"/>
                      <a:pt x="676" y="731"/>
                      <a:pt x="676" y="731"/>
                    </a:cubicBezTo>
                    <a:cubicBezTo>
                      <a:pt x="676" y="719"/>
                      <a:pt x="666" y="709"/>
                      <a:pt x="654" y="709"/>
                    </a:cubicBezTo>
                    <a:cubicBezTo>
                      <a:pt x="594" y="709"/>
                      <a:pt x="594" y="709"/>
                      <a:pt x="594" y="709"/>
                    </a:cubicBezTo>
                    <a:cubicBezTo>
                      <a:pt x="582" y="709"/>
                      <a:pt x="572" y="719"/>
                      <a:pt x="572" y="731"/>
                    </a:cubicBezTo>
                    <a:cubicBezTo>
                      <a:pt x="572" y="752"/>
                      <a:pt x="572" y="752"/>
                      <a:pt x="572" y="752"/>
                    </a:cubicBezTo>
                    <a:cubicBezTo>
                      <a:pt x="572" y="764"/>
                      <a:pt x="582" y="774"/>
                      <a:pt x="594" y="774"/>
                    </a:cubicBezTo>
                    <a:cubicBezTo>
                      <a:pt x="654" y="774"/>
                      <a:pt x="654" y="774"/>
                      <a:pt x="654" y="774"/>
                    </a:cubicBezTo>
                    <a:cubicBezTo>
                      <a:pt x="666" y="774"/>
                      <a:pt x="676" y="764"/>
                      <a:pt x="676" y="752"/>
                    </a:cubicBezTo>
                    <a:close/>
                    <a:moveTo>
                      <a:pt x="843" y="752"/>
                    </a:moveTo>
                    <a:cubicBezTo>
                      <a:pt x="843" y="731"/>
                      <a:pt x="843" y="731"/>
                      <a:pt x="843" y="731"/>
                    </a:cubicBezTo>
                    <a:cubicBezTo>
                      <a:pt x="843" y="719"/>
                      <a:pt x="833" y="709"/>
                      <a:pt x="821" y="709"/>
                    </a:cubicBezTo>
                    <a:cubicBezTo>
                      <a:pt x="760" y="709"/>
                      <a:pt x="760" y="709"/>
                      <a:pt x="760" y="709"/>
                    </a:cubicBezTo>
                    <a:cubicBezTo>
                      <a:pt x="748" y="709"/>
                      <a:pt x="738" y="719"/>
                      <a:pt x="738" y="731"/>
                    </a:cubicBezTo>
                    <a:cubicBezTo>
                      <a:pt x="738" y="752"/>
                      <a:pt x="738" y="752"/>
                      <a:pt x="738" y="752"/>
                    </a:cubicBezTo>
                    <a:cubicBezTo>
                      <a:pt x="738" y="764"/>
                      <a:pt x="748" y="774"/>
                      <a:pt x="760" y="774"/>
                    </a:cubicBezTo>
                    <a:cubicBezTo>
                      <a:pt x="821" y="774"/>
                      <a:pt x="821" y="774"/>
                      <a:pt x="821" y="774"/>
                    </a:cubicBezTo>
                    <a:cubicBezTo>
                      <a:pt x="833" y="774"/>
                      <a:pt x="843" y="764"/>
                      <a:pt x="843" y="752"/>
                    </a:cubicBezTo>
                    <a:close/>
                    <a:moveTo>
                      <a:pt x="676" y="866"/>
                    </a:moveTo>
                    <a:cubicBezTo>
                      <a:pt x="676" y="845"/>
                      <a:pt x="676" y="845"/>
                      <a:pt x="676" y="845"/>
                    </a:cubicBezTo>
                    <a:cubicBezTo>
                      <a:pt x="676" y="833"/>
                      <a:pt x="666" y="823"/>
                      <a:pt x="654" y="823"/>
                    </a:cubicBezTo>
                    <a:cubicBezTo>
                      <a:pt x="594" y="823"/>
                      <a:pt x="594" y="823"/>
                      <a:pt x="594" y="823"/>
                    </a:cubicBezTo>
                    <a:cubicBezTo>
                      <a:pt x="582" y="823"/>
                      <a:pt x="572" y="833"/>
                      <a:pt x="572" y="845"/>
                    </a:cubicBezTo>
                    <a:cubicBezTo>
                      <a:pt x="572" y="866"/>
                      <a:pt x="572" y="866"/>
                      <a:pt x="572" y="866"/>
                    </a:cubicBezTo>
                    <a:cubicBezTo>
                      <a:pt x="572" y="878"/>
                      <a:pt x="582" y="888"/>
                      <a:pt x="594" y="888"/>
                    </a:cubicBezTo>
                    <a:cubicBezTo>
                      <a:pt x="654" y="888"/>
                      <a:pt x="654" y="888"/>
                      <a:pt x="654" y="888"/>
                    </a:cubicBezTo>
                    <a:cubicBezTo>
                      <a:pt x="666" y="888"/>
                      <a:pt x="676" y="878"/>
                      <a:pt x="676" y="866"/>
                    </a:cubicBezTo>
                    <a:close/>
                    <a:moveTo>
                      <a:pt x="843" y="866"/>
                    </a:moveTo>
                    <a:cubicBezTo>
                      <a:pt x="843" y="845"/>
                      <a:pt x="843" y="845"/>
                      <a:pt x="843" y="845"/>
                    </a:cubicBezTo>
                    <a:cubicBezTo>
                      <a:pt x="843" y="833"/>
                      <a:pt x="833" y="823"/>
                      <a:pt x="821" y="823"/>
                    </a:cubicBezTo>
                    <a:cubicBezTo>
                      <a:pt x="760" y="823"/>
                      <a:pt x="760" y="823"/>
                      <a:pt x="760" y="823"/>
                    </a:cubicBezTo>
                    <a:cubicBezTo>
                      <a:pt x="748" y="823"/>
                      <a:pt x="738" y="833"/>
                      <a:pt x="738" y="845"/>
                    </a:cubicBezTo>
                    <a:cubicBezTo>
                      <a:pt x="738" y="866"/>
                      <a:pt x="738" y="866"/>
                      <a:pt x="738" y="866"/>
                    </a:cubicBezTo>
                    <a:cubicBezTo>
                      <a:pt x="738" y="878"/>
                      <a:pt x="748" y="888"/>
                      <a:pt x="760" y="888"/>
                    </a:cubicBezTo>
                    <a:cubicBezTo>
                      <a:pt x="821" y="888"/>
                      <a:pt x="821" y="888"/>
                      <a:pt x="821" y="888"/>
                    </a:cubicBezTo>
                    <a:cubicBezTo>
                      <a:pt x="833" y="888"/>
                      <a:pt x="843" y="878"/>
                      <a:pt x="843" y="866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30" name="Freeform 26">
                <a:extLst>
                  <a:ext uri="{FF2B5EF4-FFF2-40B4-BE49-F238E27FC236}">
                    <a16:creationId xmlns:a16="http://schemas.microsoft.com/office/drawing/2014/main" xmlns="" id="{BB833497-D78A-4A47-B740-DCACD718D5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8" y="711"/>
                <a:ext cx="3380" cy="2885"/>
              </a:xfrm>
              <a:custGeom>
                <a:avLst/>
                <a:gdLst>
                  <a:gd name="T0" fmla="*/ 23 w 1804"/>
                  <a:gd name="T1" fmla="*/ 1178 h 1539"/>
                  <a:gd name="T2" fmla="*/ 1 w 1804"/>
                  <a:gd name="T3" fmla="*/ 1517 h 1539"/>
                  <a:gd name="T4" fmla="*/ 1781 w 1804"/>
                  <a:gd name="T5" fmla="*/ 1539 h 1539"/>
                  <a:gd name="T6" fmla="*/ 1803 w 1804"/>
                  <a:gd name="T7" fmla="*/ 1200 h 1539"/>
                  <a:gd name="T8" fmla="*/ 902 w 1804"/>
                  <a:gd name="T9" fmla="*/ 1413 h 1539"/>
                  <a:gd name="T10" fmla="*/ 902 w 1804"/>
                  <a:gd name="T11" fmla="*/ 1303 h 1539"/>
                  <a:gd name="T12" fmla="*/ 902 w 1804"/>
                  <a:gd name="T13" fmla="*/ 1413 h 1539"/>
                  <a:gd name="T14" fmla="*/ 1684 w 1804"/>
                  <a:gd name="T15" fmla="*/ 605 h 1539"/>
                  <a:gd name="T16" fmla="*/ 1662 w 1804"/>
                  <a:gd name="T17" fmla="*/ 319 h 1539"/>
                  <a:gd name="T18" fmla="*/ 1355 w 1804"/>
                  <a:gd name="T19" fmla="*/ 288 h 1539"/>
                  <a:gd name="T20" fmla="*/ 1547 w 1804"/>
                  <a:gd name="T21" fmla="*/ 266 h 1539"/>
                  <a:gd name="T22" fmla="*/ 1525 w 1804"/>
                  <a:gd name="T23" fmla="*/ 0 h 1539"/>
                  <a:gd name="T24" fmla="*/ 943 w 1804"/>
                  <a:gd name="T25" fmla="*/ 22 h 1539"/>
                  <a:gd name="T26" fmla="*/ 965 w 1804"/>
                  <a:gd name="T27" fmla="*/ 288 h 1539"/>
                  <a:gd name="T28" fmla="*/ 1135 w 1804"/>
                  <a:gd name="T29" fmla="*/ 319 h 1539"/>
                  <a:gd name="T30" fmla="*/ 828 w 1804"/>
                  <a:gd name="T31" fmla="*/ 363 h 1539"/>
                  <a:gd name="T32" fmla="*/ 1640 w 1804"/>
                  <a:gd name="T33" fmla="*/ 608 h 1539"/>
                  <a:gd name="T34" fmla="*/ 1760 w 1804"/>
                  <a:gd name="T35" fmla="*/ 979 h 1539"/>
                  <a:gd name="T36" fmla="*/ 44 w 1804"/>
                  <a:gd name="T37" fmla="*/ 1103 h 1539"/>
                  <a:gd name="T38" fmla="*/ 163 w 1804"/>
                  <a:gd name="T39" fmla="*/ 615 h 1539"/>
                  <a:gd name="T40" fmla="*/ 164 w 1804"/>
                  <a:gd name="T41" fmla="*/ 363 h 1539"/>
                  <a:gd name="T42" fmla="*/ 331 w 1804"/>
                  <a:gd name="T43" fmla="*/ 319 h 1539"/>
                  <a:gd name="T44" fmla="*/ 120 w 1804"/>
                  <a:gd name="T45" fmla="*/ 341 h 1539"/>
                  <a:gd name="T46" fmla="*/ 1 w 1804"/>
                  <a:gd name="T47" fmla="*/ 969 h 1539"/>
                  <a:gd name="T48" fmla="*/ 0 w 1804"/>
                  <a:gd name="T49" fmla="*/ 1125 h 1539"/>
                  <a:gd name="T50" fmla="*/ 1782 w 1804"/>
                  <a:gd name="T51" fmla="*/ 1147 h 1539"/>
                  <a:gd name="T52" fmla="*/ 1804 w 1804"/>
                  <a:gd name="T53" fmla="*/ 976 h 1539"/>
                  <a:gd name="T54" fmla="*/ 987 w 1804"/>
                  <a:gd name="T55" fmla="*/ 44 h 1539"/>
                  <a:gd name="T56" fmla="*/ 1503 w 1804"/>
                  <a:gd name="T57" fmla="*/ 244 h 1539"/>
                  <a:gd name="T58" fmla="*/ 987 w 1804"/>
                  <a:gd name="T59" fmla="*/ 44 h 1539"/>
                  <a:gd name="T60" fmla="*/ 828 w 1804"/>
                  <a:gd name="T61" fmla="*/ 649 h 1539"/>
                  <a:gd name="T62" fmla="*/ 820 w 1804"/>
                  <a:gd name="T63" fmla="*/ 679 h 1539"/>
                  <a:gd name="T64" fmla="*/ 784 w 1804"/>
                  <a:gd name="T65" fmla="*/ 144 h 1539"/>
                  <a:gd name="T66" fmla="*/ 397 w 1804"/>
                  <a:gd name="T67" fmla="*/ 122 h 1539"/>
                  <a:gd name="T68" fmla="*/ 375 w 1804"/>
                  <a:gd name="T69" fmla="*/ 679 h 1539"/>
                  <a:gd name="T70" fmla="*/ 323 w 1804"/>
                  <a:gd name="T71" fmla="*/ 663 h 1539"/>
                  <a:gd name="T72" fmla="*/ 331 w 1804"/>
                  <a:gd name="T73" fmla="*/ 604 h 1539"/>
                  <a:gd name="T74" fmla="*/ 339 w 1804"/>
                  <a:gd name="T75" fmla="*/ 723 h 1539"/>
                  <a:gd name="T76" fmla="*/ 762 w 1804"/>
                  <a:gd name="T77" fmla="*/ 723 h 1539"/>
                  <a:gd name="T78" fmla="*/ 880 w 1804"/>
                  <a:gd name="T79" fmla="*/ 663 h 1539"/>
                  <a:gd name="T80" fmla="*/ 740 w 1804"/>
                  <a:gd name="T81" fmla="*/ 679 h 1539"/>
                  <a:gd name="T82" fmla="*/ 419 w 1804"/>
                  <a:gd name="T83" fmla="*/ 166 h 1539"/>
                  <a:gd name="T84" fmla="*/ 740 w 1804"/>
                  <a:gd name="T85" fmla="*/ 679 h 1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04" h="1539">
                    <a:moveTo>
                      <a:pt x="1781" y="1178"/>
                    </a:moveTo>
                    <a:cubicBezTo>
                      <a:pt x="23" y="1178"/>
                      <a:pt x="23" y="1178"/>
                      <a:pt x="23" y="1178"/>
                    </a:cubicBezTo>
                    <a:cubicBezTo>
                      <a:pt x="11" y="1178"/>
                      <a:pt x="1" y="1188"/>
                      <a:pt x="1" y="1200"/>
                    </a:cubicBezTo>
                    <a:cubicBezTo>
                      <a:pt x="1" y="1517"/>
                      <a:pt x="1" y="1517"/>
                      <a:pt x="1" y="1517"/>
                    </a:cubicBezTo>
                    <a:cubicBezTo>
                      <a:pt x="1" y="1529"/>
                      <a:pt x="11" y="1539"/>
                      <a:pt x="23" y="1539"/>
                    </a:cubicBezTo>
                    <a:cubicBezTo>
                      <a:pt x="1781" y="1539"/>
                      <a:pt x="1781" y="1539"/>
                      <a:pt x="1781" y="1539"/>
                    </a:cubicBezTo>
                    <a:cubicBezTo>
                      <a:pt x="1793" y="1539"/>
                      <a:pt x="1803" y="1529"/>
                      <a:pt x="1803" y="1517"/>
                    </a:cubicBezTo>
                    <a:cubicBezTo>
                      <a:pt x="1803" y="1200"/>
                      <a:pt x="1803" y="1200"/>
                      <a:pt x="1803" y="1200"/>
                    </a:cubicBezTo>
                    <a:cubicBezTo>
                      <a:pt x="1803" y="1188"/>
                      <a:pt x="1793" y="1178"/>
                      <a:pt x="1781" y="1178"/>
                    </a:cubicBezTo>
                    <a:close/>
                    <a:moveTo>
                      <a:pt x="902" y="1413"/>
                    </a:moveTo>
                    <a:cubicBezTo>
                      <a:pt x="872" y="1413"/>
                      <a:pt x="847" y="1389"/>
                      <a:pt x="847" y="1358"/>
                    </a:cubicBezTo>
                    <a:cubicBezTo>
                      <a:pt x="847" y="1328"/>
                      <a:pt x="872" y="1303"/>
                      <a:pt x="902" y="1303"/>
                    </a:cubicBezTo>
                    <a:cubicBezTo>
                      <a:pt x="932" y="1303"/>
                      <a:pt x="957" y="1328"/>
                      <a:pt x="957" y="1358"/>
                    </a:cubicBezTo>
                    <a:cubicBezTo>
                      <a:pt x="957" y="1389"/>
                      <a:pt x="932" y="1413"/>
                      <a:pt x="902" y="1413"/>
                    </a:cubicBezTo>
                    <a:close/>
                    <a:moveTo>
                      <a:pt x="1803" y="969"/>
                    </a:moveTo>
                    <a:cubicBezTo>
                      <a:pt x="1684" y="605"/>
                      <a:pt x="1684" y="605"/>
                      <a:pt x="1684" y="605"/>
                    </a:cubicBezTo>
                    <a:cubicBezTo>
                      <a:pt x="1684" y="341"/>
                      <a:pt x="1684" y="341"/>
                      <a:pt x="1684" y="341"/>
                    </a:cubicBezTo>
                    <a:cubicBezTo>
                      <a:pt x="1684" y="329"/>
                      <a:pt x="1674" y="319"/>
                      <a:pt x="1662" y="319"/>
                    </a:cubicBezTo>
                    <a:cubicBezTo>
                      <a:pt x="1355" y="319"/>
                      <a:pt x="1355" y="319"/>
                      <a:pt x="1355" y="319"/>
                    </a:cubicBezTo>
                    <a:cubicBezTo>
                      <a:pt x="1355" y="288"/>
                      <a:pt x="1355" y="288"/>
                      <a:pt x="1355" y="288"/>
                    </a:cubicBezTo>
                    <a:cubicBezTo>
                      <a:pt x="1525" y="288"/>
                      <a:pt x="1525" y="288"/>
                      <a:pt x="1525" y="288"/>
                    </a:cubicBezTo>
                    <a:cubicBezTo>
                      <a:pt x="1537" y="288"/>
                      <a:pt x="1547" y="278"/>
                      <a:pt x="1547" y="266"/>
                    </a:cubicBezTo>
                    <a:cubicBezTo>
                      <a:pt x="1547" y="22"/>
                      <a:pt x="1547" y="22"/>
                      <a:pt x="1547" y="22"/>
                    </a:cubicBezTo>
                    <a:cubicBezTo>
                      <a:pt x="1547" y="10"/>
                      <a:pt x="1537" y="0"/>
                      <a:pt x="1525" y="0"/>
                    </a:cubicBezTo>
                    <a:cubicBezTo>
                      <a:pt x="965" y="0"/>
                      <a:pt x="965" y="0"/>
                      <a:pt x="965" y="0"/>
                    </a:cubicBezTo>
                    <a:cubicBezTo>
                      <a:pt x="953" y="0"/>
                      <a:pt x="943" y="10"/>
                      <a:pt x="943" y="22"/>
                    </a:cubicBezTo>
                    <a:cubicBezTo>
                      <a:pt x="943" y="266"/>
                      <a:pt x="943" y="266"/>
                      <a:pt x="943" y="266"/>
                    </a:cubicBezTo>
                    <a:cubicBezTo>
                      <a:pt x="943" y="278"/>
                      <a:pt x="953" y="288"/>
                      <a:pt x="965" y="288"/>
                    </a:cubicBezTo>
                    <a:cubicBezTo>
                      <a:pt x="1135" y="288"/>
                      <a:pt x="1135" y="288"/>
                      <a:pt x="1135" y="288"/>
                    </a:cubicBezTo>
                    <a:cubicBezTo>
                      <a:pt x="1135" y="319"/>
                      <a:pt x="1135" y="319"/>
                      <a:pt x="1135" y="319"/>
                    </a:cubicBezTo>
                    <a:cubicBezTo>
                      <a:pt x="828" y="319"/>
                      <a:pt x="828" y="319"/>
                      <a:pt x="828" y="319"/>
                    </a:cubicBezTo>
                    <a:cubicBezTo>
                      <a:pt x="828" y="363"/>
                      <a:pt x="828" y="363"/>
                      <a:pt x="828" y="363"/>
                    </a:cubicBezTo>
                    <a:cubicBezTo>
                      <a:pt x="1640" y="363"/>
                      <a:pt x="1640" y="363"/>
                      <a:pt x="1640" y="363"/>
                    </a:cubicBezTo>
                    <a:cubicBezTo>
                      <a:pt x="1640" y="608"/>
                      <a:pt x="1640" y="608"/>
                      <a:pt x="1640" y="608"/>
                    </a:cubicBezTo>
                    <a:cubicBezTo>
                      <a:pt x="1640" y="610"/>
                      <a:pt x="1640" y="613"/>
                      <a:pt x="1641" y="615"/>
                    </a:cubicBezTo>
                    <a:cubicBezTo>
                      <a:pt x="1760" y="979"/>
                      <a:pt x="1760" y="979"/>
                      <a:pt x="1760" y="979"/>
                    </a:cubicBezTo>
                    <a:cubicBezTo>
                      <a:pt x="1760" y="1103"/>
                      <a:pt x="1760" y="1103"/>
                      <a:pt x="1760" y="1103"/>
                    </a:cubicBezTo>
                    <a:cubicBezTo>
                      <a:pt x="44" y="1103"/>
                      <a:pt x="44" y="1103"/>
                      <a:pt x="44" y="1103"/>
                    </a:cubicBezTo>
                    <a:cubicBezTo>
                      <a:pt x="44" y="979"/>
                      <a:pt x="44" y="979"/>
                      <a:pt x="44" y="979"/>
                    </a:cubicBezTo>
                    <a:cubicBezTo>
                      <a:pt x="163" y="615"/>
                      <a:pt x="163" y="615"/>
                      <a:pt x="163" y="615"/>
                    </a:cubicBezTo>
                    <a:cubicBezTo>
                      <a:pt x="164" y="613"/>
                      <a:pt x="164" y="610"/>
                      <a:pt x="164" y="608"/>
                    </a:cubicBezTo>
                    <a:cubicBezTo>
                      <a:pt x="164" y="363"/>
                      <a:pt x="164" y="363"/>
                      <a:pt x="164" y="363"/>
                    </a:cubicBezTo>
                    <a:cubicBezTo>
                      <a:pt x="331" y="363"/>
                      <a:pt x="331" y="363"/>
                      <a:pt x="331" y="363"/>
                    </a:cubicBezTo>
                    <a:cubicBezTo>
                      <a:pt x="331" y="319"/>
                      <a:pt x="331" y="319"/>
                      <a:pt x="331" y="319"/>
                    </a:cubicBezTo>
                    <a:cubicBezTo>
                      <a:pt x="142" y="319"/>
                      <a:pt x="142" y="319"/>
                      <a:pt x="142" y="319"/>
                    </a:cubicBezTo>
                    <a:cubicBezTo>
                      <a:pt x="130" y="319"/>
                      <a:pt x="120" y="329"/>
                      <a:pt x="120" y="341"/>
                    </a:cubicBezTo>
                    <a:cubicBezTo>
                      <a:pt x="120" y="605"/>
                      <a:pt x="120" y="605"/>
                      <a:pt x="120" y="605"/>
                    </a:cubicBezTo>
                    <a:cubicBezTo>
                      <a:pt x="1" y="969"/>
                      <a:pt x="1" y="969"/>
                      <a:pt x="1" y="969"/>
                    </a:cubicBezTo>
                    <a:cubicBezTo>
                      <a:pt x="0" y="971"/>
                      <a:pt x="0" y="974"/>
                      <a:pt x="0" y="976"/>
                    </a:cubicBezTo>
                    <a:cubicBezTo>
                      <a:pt x="0" y="1125"/>
                      <a:pt x="0" y="1125"/>
                      <a:pt x="0" y="1125"/>
                    </a:cubicBezTo>
                    <a:cubicBezTo>
                      <a:pt x="0" y="1137"/>
                      <a:pt x="10" y="1147"/>
                      <a:pt x="22" y="1147"/>
                    </a:cubicBezTo>
                    <a:cubicBezTo>
                      <a:pt x="1782" y="1147"/>
                      <a:pt x="1782" y="1147"/>
                      <a:pt x="1782" y="1147"/>
                    </a:cubicBezTo>
                    <a:cubicBezTo>
                      <a:pt x="1794" y="1147"/>
                      <a:pt x="1804" y="1137"/>
                      <a:pt x="1804" y="1125"/>
                    </a:cubicBezTo>
                    <a:cubicBezTo>
                      <a:pt x="1804" y="976"/>
                      <a:pt x="1804" y="976"/>
                      <a:pt x="1804" y="976"/>
                    </a:cubicBezTo>
                    <a:cubicBezTo>
                      <a:pt x="1804" y="974"/>
                      <a:pt x="1804" y="971"/>
                      <a:pt x="1803" y="969"/>
                    </a:cubicBezTo>
                    <a:close/>
                    <a:moveTo>
                      <a:pt x="987" y="44"/>
                    </a:moveTo>
                    <a:cubicBezTo>
                      <a:pt x="1503" y="44"/>
                      <a:pt x="1503" y="44"/>
                      <a:pt x="1503" y="44"/>
                    </a:cubicBezTo>
                    <a:cubicBezTo>
                      <a:pt x="1503" y="244"/>
                      <a:pt x="1503" y="244"/>
                      <a:pt x="1503" y="244"/>
                    </a:cubicBezTo>
                    <a:cubicBezTo>
                      <a:pt x="987" y="244"/>
                      <a:pt x="987" y="244"/>
                      <a:pt x="987" y="244"/>
                    </a:cubicBezTo>
                    <a:lnTo>
                      <a:pt x="987" y="44"/>
                    </a:lnTo>
                    <a:close/>
                    <a:moveTo>
                      <a:pt x="828" y="604"/>
                    </a:moveTo>
                    <a:cubicBezTo>
                      <a:pt x="828" y="649"/>
                      <a:pt x="828" y="649"/>
                      <a:pt x="828" y="649"/>
                    </a:cubicBezTo>
                    <a:cubicBezTo>
                      <a:pt x="833" y="652"/>
                      <a:pt x="836" y="657"/>
                      <a:pt x="836" y="663"/>
                    </a:cubicBezTo>
                    <a:cubicBezTo>
                      <a:pt x="836" y="672"/>
                      <a:pt x="829" y="679"/>
                      <a:pt x="820" y="679"/>
                    </a:cubicBezTo>
                    <a:cubicBezTo>
                      <a:pt x="784" y="679"/>
                      <a:pt x="784" y="679"/>
                      <a:pt x="784" y="679"/>
                    </a:cubicBezTo>
                    <a:cubicBezTo>
                      <a:pt x="784" y="144"/>
                      <a:pt x="784" y="144"/>
                      <a:pt x="784" y="144"/>
                    </a:cubicBezTo>
                    <a:cubicBezTo>
                      <a:pt x="784" y="132"/>
                      <a:pt x="774" y="122"/>
                      <a:pt x="762" y="122"/>
                    </a:cubicBez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85" y="122"/>
                      <a:pt x="375" y="132"/>
                      <a:pt x="375" y="144"/>
                    </a:cubicBezTo>
                    <a:cubicBezTo>
                      <a:pt x="375" y="679"/>
                      <a:pt x="375" y="679"/>
                      <a:pt x="375" y="679"/>
                    </a:cubicBezTo>
                    <a:cubicBezTo>
                      <a:pt x="339" y="679"/>
                      <a:pt x="339" y="679"/>
                      <a:pt x="339" y="679"/>
                    </a:cubicBezTo>
                    <a:cubicBezTo>
                      <a:pt x="330" y="679"/>
                      <a:pt x="323" y="672"/>
                      <a:pt x="323" y="663"/>
                    </a:cubicBezTo>
                    <a:cubicBezTo>
                      <a:pt x="323" y="657"/>
                      <a:pt x="326" y="652"/>
                      <a:pt x="331" y="649"/>
                    </a:cubicBezTo>
                    <a:cubicBezTo>
                      <a:pt x="331" y="604"/>
                      <a:pt x="331" y="604"/>
                      <a:pt x="331" y="604"/>
                    </a:cubicBezTo>
                    <a:cubicBezTo>
                      <a:pt x="301" y="608"/>
                      <a:pt x="279" y="633"/>
                      <a:pt x="279" y="663"/>
                    </a:cubicBezTo>
                    <a:cubicBezTo>
                      <a:pt x="279" y="696"/>
                      <a:pt x="306" y="723"/>
                      <a:pt x="339" y="723"/>
                    </a:cubicBezTo>
                    <a:cubicBezTo>
                      <a:pt x="397" y="723"/>
                      <a:pt x="397" y="723"/>
                      <a:pt x="397" y="723"/>
                    </a:cubicBezTo>
                    <a:cubicBezTo>
                      <a:pt x="762" y="723"/>
                      <a:pt x="762" y="723"/>
                      <a:pt x="762" y="723"/>
                    </a:cubicBezTo>
                    <a:cubicBezTo>
                      <a:pt x="820" y="723"/>
                      <a:pt x="820" y="723"/>
                      <a:pt x="820" y="723"/>
                    </a:cubicBezTo>
                    <a:cubicBezTo>
                      <a:pt x="853" y="723"/>
                      <a:pt x="880" y="696"/>
                      <a:pt x="880" y="663"/>
                    </a:cubicBezTo>
                    <a:cubicBezTo>
                      <a:pt x="880" y="633"/>
                      <a:pt x="857" y="608"/>
                      <a:pt x="828" y="604"/>
                    </a:cubicBezTo>
                    <a:close/>
                    <a:moveTo>
                      <a:pt x="740" y="679"/>
                    </a:moveTo>
                    <a:cubicBezTo>
                      <a:pt x="419" y="679"/>
                      <a:pt x="419" y="679"/>
                      <a:pt x="419" y="679"/>
                    </a:cubicBezTo>
                    <a:cubicBezTo>
                      <a:pt x="419" y="166"/>
                      <a:pt x="419" y="166"/>
                      <a:pt x="419" y="166"/>
                    </a:cubicBezTo>
                    <a:cubicBezTo>
                      <a:pt x="740" y="166"/>
                      <a:pt x="740" y="166"/>
                      <a:pt x="740" y="166"/>
                    </a:cubicBezTo>
                    <a:lnTo>
                      <a:pt x="740" y="679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0" name="Group 149"/>
          <p:cNvGrpSpPr/>
          <p:nvPr/>
        </p:nvGrpSpPr>
        <p:grpSpPr>
          <a:xfrm>
            <a:off x="10038724" y="4369318"/>
            <a:ext cx="1127654" cy="1127656"/>
            <a:chOff x="9930769" y="4234235"/>
            <a:chExt cx="1127654" cy="1127656"/>
          </a:xfrm>
        </p:grpSpPr>
        <p:sp>
          <p:nvSpPr>
            <p:cNvPr id="11" name="Oval 10"/>
            <p:cNvSpPr/>
            <p:nvPr/>
          </p:nvSpPr>
          <p:spPr>
            <a:xfrm>
              <a:off x="9930769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31" name="Group 30"/>
            <p:cNvGrpSpPr>
              <a:grpSpLocks noChangeAspect="1"/>
            </p:cNvGrpSpPr>
            <p:nvPr/>
          </p:nvGrpSpPr>
          <p:grpSpPr>
            <a:xfrm>
              <a:off x="10083116" y="4386583"/>
              <a:ext cx="822960" cy="822960"/>
              <a:chOff x="5273040" y="2606040"/>
              <a:chExt cx="1645920" cy="1645920"/>
            </a:xfrm>
          </p:grpSpPr>
          <p:sp>
            <p:nvSpPr>
              <p:cNvPr id="3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0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grpSp>
            <p:nvGrpSpPr>
              <p:cNvPr id="33" name="Group 32"/>
              <p:cNvGrpSpPr/>
              <p:nvPr/>
            </p:nvGrpSpPr>
            <p:grpSpPr>
              <a:xfrm>
                <a:off x="5806821" y="2881122"/>
                <a:ext cx="578358" cy="1095756"/>
                <a:chOff x="5806821" y="2881122"/>
                <a:chExt cx="578358" cy="1095756"/>
              </a:xfrm>
            </p:grpSpPr>
            <p:sp>
              <p:nvSpPr>
                <p:cNvPr id="34" name="Freeform 33"/>
                <p:cNvSpPr>
                  <a:spLocks/>
                </p:cNvSpPr>
                <p:nvPr/>
              </p:nvSpPr>
              <p:spPr bwMode="auto">
                <a:xfrm>
                  <a:off x="5806821" y="2881122"/>
                  <a:ext cx="578358" cy="1095756"/>
                </a:xfrm>
                <a:custGeom>
                  <a:avLst/>
                  <a:gdLst>
                    <a:gd name="connsiteX0" fmla="*/ 130175 w 2409825"/>
                    <a:gd name="connsiteY0" fmla="*/ 3871913 h 4565650"/>
                    <a:gd name="connsiteX1" fmla="*/ 130175 w 2409825"/>
                    <a:gd name="connsiteY1" fmla="*/ 4432301 h 4565650"/>
                    <a:gd name="connsiteX2" fmla="*/ 2279650 w 2409825"/>
                    <a:gd name="connsiteY2" fmla="*/ 4432301 h 4565650"/>
                    <a:gd name="connsiteX3" fmla="*/ 2279650 w 2409825"/>
                    <a:gd name="connsiteY3" fmla="*/ 3871913 h 4565650"/>
                    <a:gd name="connsiteX4" fmla="*/ 130175 w 2409825"/>
                    <a:gd name="connsiteY4" fmla="*/ 3871913 h 4565650"/>
                    <a:gd name="connsiteX5" fmla="*/ 130175 w 2409825"/>
                    <a:gd name="connsiteY5" fmla="*/ 133350 h 4565650"/>
                    <a:gd name="connsiteX6" fmla="*/ 130175 w 2409825"/>
                    <a:gd name="connsiteY6" fmla="*/ 3741738 h 4565650"/>
                    <a:gd name="connsiteX7" fmla="*/ 2279650 w 2409825"/>
                    <a:gd name="connsiteY7" fmla="*/ 3741738 h 4565650"/>
                    <a:gd name="connsiteX8" fmla="*/ 2279650 w 2409825"/>
                    <a:gd name="connsiteY8" fmla="*/ 133350 h 4565650"/>
                    <a:gd name="connsiteX9" fmla="*/ 130175 w 2409825"/>
                    <a:gd name="connsiteY9" fmla="*/ 133350 h 4565650"/>
                    <a:gd name="connsiteX10" fmla="*/ 65452 w 2409825"/>
                    <a:gd name="connsiteY10" fmla="*/ 0 h 4565650"/>
                    <a:gd name="connsiteX11" fmla="*/ 2344373 w 2409825"/>
                    <a:gd name="connsiteY11" fmla="*/ 0 h 4565650"/>
                    <a:gd name="connsiteX12" fmla="*/ 2409825 w 2409825"/>
                    <a:gd name="connsiteY12" fmla="*/ 65479 h 4565650"/>
                    <a:gd name="connsiteX13" fmla="*/ 2409825 w 2409825"/>
                    <a:gd name="connsiteY13" fmla="*/ 3741214 h 4565650"/>
                    <a:gd name="connsiteX14" fmla="*/ 2409825 w 2409825"/>
                    <a:gd name="connsiteY14" fmla="*/ 3872171 h 4565650"/>
                    <a:gd name="connsiteX15" fmla="*/ 2409825 w 2409825"/>
                    <a:gd name="connsiteY15" fmla="*/ 4500172 h 4565650"/>
                    <a:gd name="connsiteX16" fmla="*/ 2344373 w 2409825"/>
                    <a:gd name="connsiteY16" fmla="*/ 4565650 h 4565650"/>
                    <a:gd name="connsiteX17" fmla="*/ 65452 w 2409825"/>
                    <a:gd name="connsiteY17" fmla="*/ 4565650 h 4565650"/>
                    <a:gd name="connsiteX18" fmla="*/ 0 w 2409825"/>
                    <a:gd name="connsiteY18" fmla="*/ 4500172 h 4565650"/>
                    <a:gd name="connsiteX19" fmla="*/ 0 w 2409825"/>
                    <a:gd name="connsiteY19" fmla="*/ 3872171 h 4565650"/>
                    <a:gd name="connsiteX20" fmla="*/ 0 w 2409825"/>
                    <a:gd name="connsiteY20" fmla="*/ 3741214 h 4565650"/>
                    <a:gd name="connsiteX21" fmla="*/ 0 w 2409825"/>
                    <a:gd name="connsiteY21" fmla="*/ 65479 h 4565650"/>
                    <a:gd name="connsiteX22" fmla="*/ 65452 w 2409825"/>
                    <a:gd name="connsiteY22" fmla="*/ 0 h 4565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409825" h="4565650">
                      <a:moveTo>
                        <a:pt x="130175" y="3871913"/>
                      </a:moveTo>
                      <a:cubicBezTo>
                        <a:pt x="130175" y="3871913"/>
                        <a:pt x="130175" y="3871913"/>
                        <a:pt x="130175" y="4432301"/>
                      </a:cubicBezTo>
                      <a:cubicBezTo>
                        <a:pt x="130175" y="4432301"/>
                        <a:pt x="130175" y="4432301"/>
                        <a:pt x="2279650" y="4432301"/>
                      </a:cubicBezTo>
                      <a:cubicBezTo>
                        <a:pt x="2279650" y="4432301"/>
                        <a:pt x="2279650" y="4432301"/>
                        <a:pt x="2279650" y="3871913"/>
                      </a:cubicBezTo>
                      <a:cubicBezTo>
                        <a:pt x="2279650" y="3871913"/>
                        <a:pt x="2279650" y="3871913"/>
                        <a:pt x="130175" y="3871913"/>
                      </a:cubicBezTo>
                      <a:close/>
                      <a:moveTo>
                        <a:pt x="130175" y="133350"/>
                      </a:moveTo>
                      <a:cubicBezTo>
                        <a:pt x="130175" y="133350"/>
                        <a:pt x="130175" y="133350"/>
                        <a:pt x="130175" y="3741738"/>
                      </a:cubicBezTo>
                      <a:cubicBezTo>
                        <a:pt x="130175" y="3741738"/>
                        <a:pt x="130175" y="3741738"/>
                        <a:pt x="2279650" y="3741738"/>
                      </a:cubicBezTo>
                      <a:cubicBezTo>
                        <a:pt x="2279650" y="3741738"/>
                        <a:pt x="2279650" y="3741738"/>
                        <a:pt x="2279650" y="133350"/>
                      </a:cubicBezTo>
                      <a:cubicBezTo>
                        <a:pt x="2279650" y="133350"/>
                        <a:pt x="2279650" y="133350"/>
                        <a:pt x="130175" y="133350"/>
                      </a:cubicBezTo>
                      <a:close/>
                      <a:moveTo>
                        <a:pt x="65452" y="0"/>
                      </a:moveTo>
                      <a:cubicBezTo>
                        <a:pt x="65452" y="0"/>
                        <a:pt x="65452" y="0"/>
                        <a:pt x="2344373" y="0"/>
                      </a:cubicBezTo>
                      <a:cubicBezTo>
                        <a:pt x="2380074" y="0"/>
                        <a:pt x="2409825" y="26787"/>
                        <a:pt x="2409825" y="65479"/>
                      </a:cubicBezTo>
                      <a:cubicBezTo>
                        <a:pt x="2409825" y="65479"/>
                        <a:pt x="2409825" y="65479"/>
                        <a:pt x="2409825" y="3741214"/>
                      </a:cubicBezTo>
                      <a:cubicBezTo>
                        <a:pt x="2409825" y="3741214"/>
                        <a:pt x="2409825" y="3741214"/>
                        <a:pt x="2409825" y="3872171"/>
                      </a:cubicBezTo>
                      <a:cubicBezTo>
                        <a:pt x="2409825" y="3872171"/>
                        <a:pt x="2409825" y="3872171"/>
                        <a:pt x="2409825" y="4500172"/>
                      </a:cubicBezTo>
                      <a:cubicBezTo>
                        <a:pt x="2409825" y="4535887"/>
                        <a:pt x="2380074" y="4565650"/>
                        <a:pt x="2344373" y="4565650"/>
                      </a:cubicBezTo>
                      <a:cubicBezTo>
                        <a:pt x="2344373" y="4565650"/>
                        <a:pt x="2344373" y="4565650"/>
                        <a:pt x="65452" y="4565650"/>
                      </a:cubicBezTo>
                      <a:cubicBezTo>
                        <a:pt x="26776" y="4565650"/>
                        <a:pt x="0" y="4535887"/>
                        <a:pt x="0" y="4500172"/>
                      </a:cubicBezTo>
                      <a:cubicBezTo>
                        <a:pt x="0" y="4500172"/>
                        <a:pt x="0" y="4500172"/>
                        <a:pt x="0" y="3872171"/>
                      </a:cubicBezTo>
                      <a:cubicBezTo>
                        <a:pt x="0" y="3872171"/>
                        <a:pt x="0" y="3872171"/>
                        <a:pt x="0" y="3741214"/>
                      </a:cubicBezTo>
                      <a:cubicBezTo>
                        <a:pt x="0" y="3741214"/>
                        <a:pt x="0" y="3741214"/>
                        <a:pt x="0" y="65479"/>
                      </a:cubicBezTo>
                      <a:cubicBezTo>
                        <a:pt x="0" y="26787"/>
                        <a:pt x="26776" y="0"/>
                        <a:pt x="65452" y="0"/>
                      </a:cubicBezTo>
                      <a:close/>
                    </a:path>
                  </a:pathLst>
                </a:custGeom>
                <a:solidFill>
                  <a:srgbClr val="595959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  <p:sp>
              <p:nvSpPr>
                <p:cNvPr id="35" name="Freeform 34"/>
                <p:cNvSpPr>
                  <a:spLocks noChangeArrowheads="1"/>
                </p:cNvSpPr>
                <p:nvPr/>
              </p:nvSpPr>
              <p:spPr bwMode="auto">
                <a:xfrm>
                  <a:off x="5865114" y="2953131"/>
                  <a:ext cx="457200" cy="962406"/>
                </a:xfrm>
                <a:custGeom>
                  <a:avLst/>
                  <a:gdLst>
                    <a:gd name="connsiteX0" fmla="*/ 956469 w 1905000"/>
                    <a:gd name="connsiteY0" fmla="*/ 3659187 h 4010025"/>
                    <a:gd name="connsiteX1" fmla="*/ 1128713 w 1905000"/>
                    <a:gd name="connsiteY1" fmla="*/ 3834606 h 4010025"/>
                    <a:gd name="connsiteX2" fmla="*/ 956469 w 1905000"/>
                    <a:gd name="connsiteY2" fmla="*/ 4010025 h 4010025"/>
                    <a:gd name="connsiteX3" fmla="*/ 784225 w 1905000"/>
                    <a:gd name="connsiteY3" fmla="*/ 3834606 h 4010025"/>
                    <a:gd name="connsiteX4" fmla="*/ 956469 w 1905000"/>
                    <a:gd name="connsiteY4" fmla="*/ 3659187 h 4010025"/>
                    <a:gd name="connsiteX5" fmla="*/ 1360488 w 1905000"/>
                    <a:gd name="connsiteY5" fmla="*/ 2247900 h 4010025"/>
                    <a:gd name="connsiteX6" fmla="*/ 1435101 w 1905000"/>
                    <a:gd name="connsiteY6" fmla="*/ 2323307 h 4010025"/>
                    <a:gd name="connsiteX7" fmla="*/ 1360488 w 1905000"/>
                    <a:gd name="connsiteY7" fmla="*/ 2398714 h 4010025"/>
                    <a:gd name="connsiteX8" fmla="*/ 1285875 w 1905000"/>
                    <a:gd name="connsiteY8" fmla="*/ 2323307 h 4010025"/>
                    <a:gd name="connsiteX9" fmla="*/ 1360488 w 1905000"/>
                    <a:gd name="connsiteY9" fmla="*/ 2247900 h 4010025"/>
                    <a:gd name="connsiteX10" fmla="*/ 695325 w 1905000"/>
                    <a:gd name="connsiteY10" fmla="*/ 2247900 h 4010025"/>
                    <a:gd name="connsiteX11" fmla="*/ 771525 w 1905000"/>
                    <a:gd name="connsiteY11" fmla="*/ 2323307 h 4010025"/>
                    <a:gd name="connsiteX12" fmla="*/ 695325 w 1905000"/>
                    <a:gd name="connsiteY12" fmla="*/ 2398714 h 4010025"/>
                    <a:gd name="connsiteX13" fmla="*/ 619125 w 1905000"/>
                    <a:gd name="connsiteY13" fmla="*/ 2323307 h 4010025"/>
                    <a:gd name="connsiteX14" fmla="*/ 695325 w 1905000"/>
                    <a:gd name="connsiteY14" fmla="*/ 2247900 h 4010025"/>
                    <a:gd name="connsiteX15" fmla="*/ 1361282 w 1905000"/>
                    <a:gd name="connsiteY15" fmla="*/ 2211387 h 4010025"/>
                    <a:gd name="connsiteX16" fmla="*/ 1250950 w 1905000"/>
                    <a:gd name="connsiteY16" fmla="*/ 2321719 h 4010025"/>
                    <a:gd name="connsiteX17" fmla="*/ 1361282 w 1905000"/>
                    <a:gd name="connsiteY17" fmla="*/ 2432051 h 4010025"/>
                    <a:gd name="connsiteX18" fmla="*/ 1471614 w 1905000"/>
                    <a:gd name="connsiteY18" fmla="*/ 2321719 h 4010025"/>
                    <a:gd name="connsiteX19" fmla="*/ 1361282 w 1905000"/>
                    <a:gd name="connsiteY19" fmla="*/ 2211387 h 4010025"/>
                    <a:gd name="connsiteX20" fmla="*/ 696119 w 1905000"/>
                    <a:gd name="connsiteY20" fmla="*/ 2211387 h 4010025"/>
                    <a:gd name="connsiteX21" fmla="*/ 587375 w 1905000"/>
                    <a:gd name="connsiteY21" fmla="*/ 2321719 h 4010025"/>
                    <a:gd name="connsiteX22" fmla="*/ 696119 w 1905000"/>
                    <a:gd name="connsiteY22" fmla="*/ 2432051 h 4010025"/>
                    <a:gd name="connsiteX23" fmla="*/ 804863 w 1905000"/>
                    <a:gd name="connsiteY23" fmla="*/ 2321719 h 4010025"/>
                    <a:gd name="connsiteX24" fmla="*/ 696119 w 1905000"/>
                    <a:gd name="connsiteY24" fmla="*/ 2211387 h 4010025"/>
                    <a:gd name="connsiteX25" fmla="*/ 1167770 w 1905000"/>
                    <a:gd name="connsiteY25" fmla="*/ 1798637 h 4010025"/>
                    <a:gd name="connsiteX26" fmla="*/ 1351594 w 1905000"/>
                    <a:gd name="connsiteY26" fmla="*/ 1798637 h 4010025"/>
                    <a:gd name="connsiteX27" fmla="*/ 1360488 w 1905000"/>
                    <a:gd name="connsiteY27" fmla="*/ 1807527 h 4010025"/>
                    <a:gd name="connsiteX28" fmla="*/ 1360488 w 1905000"/>
                    <a:gd name="connsiteY28" fmla="*/ 1878647 h 4010025"/>
                    <a:gd name="connsiteX29" fmla="*/ 1351594 w 1905000"/>
                    <a:gd name="connsiteY29" fmla="*/ 1887537 h 4010025"/>
                    <a:gd name="connsiteX30" fmla="*/ 1167770 w 1905000"/>
                    <a:gd name="connsiteY30" fmla="*/ 1887537 h 4010025"/>
                    <a:gd name="connsiteX31" fmla="*/ 1158875 w 1905000"/>
                    <a:gd name="connsiteY31" fmla="*/ 1878647 h 4010025"/>
                    <a:gd name="connsiteX32" fmla="*/ 1158875 w 1905000"/>
                    <a:gd name="connsiteY32" fmla="*/ 1807527 h 4010025"/>
                    <a:gd name="connsiteX33" fmla="*/ 1167770 w 1905000"/>
                    <a:gd name="connsiteY33" fmla="*/ 1798637 h 4010025"/>
                    <a:gd name="connsiteX34" fmla="*/ 905886 w 1905000"/>
                    <a:gd name="connsiteY34" fmla="*/ 1798637 h 4010025"/>
                    <a:gd name="connsiteX35" fmla="*/ 1084841 w 1905000"/>
                    <a:gd name="connsiteY35" fmla="*/ 1798637 h 4010025"/>
                    <a:gd name="connsiteX36" fmla="*/ 1093788 w 1905000"/>
                    <a:gd name="connsiteY36" fmla="*/ 1807527 h 4010025"/>
                    <a:gd name="connsiteX37" fmla="*/ 1093788 w 1905000"/>
                    <a:gd name="connsiteY37" fmla="*/ 1878647 h 4010025"/>
                    <a:gd name="connsiteX38" fmla="*/ 1084841 w 1905000"/>
                    <a:gd name="connsiteY38" fmla="*/ 1887537 h 4010025"/>
                    <a:gd name="connsiteX39" fmla="*/ 905886 w 1905000"/>
                    <a:gd name="connsiteY39" fmla="*/ 1887537 h 4010025"/>
                    <a:gd name="connsiteX40" fmla="*/ 896938 w 1905000"/>
                    <a:gd name="connsiteY40" fmla="*/ 1878647 h 4010025"/>
                    <a:gd name="connsiteX41" fmla="*/ 896938 w 1905000"/>
                    <a:gd name="connsiteY41" fmla="*/ 1807527 h 4010025"/>
                    <a:gd name="connsiteX42" fmla="*/ 905886 w 1905000"/>
                    <a:gd name="connsiteY42" fmla="*/ 1798637 h 4010025"/>
                    <a:gd name="connsiteX43" fmla="*/ 1167770 w 1905000"/>
                    <a:gd name="connsiteY43" fmla="*/ 1611312 h 4010025"/>
                    <a:gd name="connsiteX44" fmla="*/ 1351594 w 1905000"/>
                    <a:gd name="connsiteY44" fmla="*/ 1611312 h 4010025"/>
                    <a:gd name="connsiteX45" fmla="*/ 1360488 w 1905000"/>
                    <a:gd name="connsiteY45" fmla="*/ 1620180 h 4010025"/>
                    <a:gd name="connsiteX46" fmla="*/ 1360488 w 1905000"/>
                    <a:gd name="connsiteY46" fmla="*/ 1691125 h 4010025"/>
                    <a:gd name="connsiteX47" fmla="*/ 1351594 w 1905000"/>
                    <a:gd name="connsiteY47" fmla="*/ 1697037 h 4010025"/>
                    <a:gd name="connsiteX48" fmla="*/ 1167770 w 1905000"/>
                    <a:gd name="connsiteY48" fmla="*/ 1697037 h 4010025"/>
                    <a:gd name="connsiteX49" fmla="*/ 1158875 w 1905000"/>
                    <a:gd name="connsiteY49" fmla="*/ 1691125 h 4010025"/>
                    <a:gd name="connsiteX50" fmla="*/ 1158875 w 1905000"/>
                    <a:gd name="connsiteY50" fmla="*/ 1620180 h 4010025"/>
                    <a:gd name="connsiteX51" fmla="*/ 1167770 w 1905000"/>
                    <a:gd name="connsiteY51" fmla="*/ 1611312 h 4010025"/>
                    <a:gd name="connsiteX52" fmla="*/ 905886 w 1905000"/>
                    <a:gd name="connsiteY52" fmla="*/ 1611312 h 4010025"/>
                    <a:gd name="connsiteX53" fmla="*/ 1084841 w 1905000"/>
                    <a:gd name="connsiteY53" fmla="*/ 1611312 h 4010025"/>
                    <a:gd name="connsiteX54" fmla="*/ 1093788 w 1905000"/>
                    <a:gd name="connsiteY54" fmla="*/ 1620180 h 4010025"/>
                    <a:gd name="connsiteX55" fmla="*/ 1093788 w 1905000"/>
                    <a:gd name="connsiteY55" fmla="*/ 1691125 h 4010025"/>
                    <a:gd name="connsiteX56" fmla="*/ 1084841 w 1905000"/>
                    <a:gd name="connsiteY56" fmla="*/ 1697037 h 4010025"/>
                    <a:gd name="connsiteX57" fmla="*/ 905886 w 1905000"/>
                    <a:gd name="connsiteY57" fmla="*/ 1697037 h 4010025"/>
                    <a:gd name="connsiteX58" fmla="*/ 896938 w 1905000"/>
                    <a:gd name="connsiteY58" fmla="*/ 1691125 h 4010025"/>
                    <a:gd name="connsiteX59" fmla="*/ 896938 w 1905000"/>
                    <a:gd name="connsiteY59" fmla="*/ 1620180 h 4010025"/>
                    <a:gd name="connsiteX60" fmla="*/ 905886 w 1905000"/>
                    <a:gd name="connsiteY60" fmla="*/ 1611312 h 4010025"/>
                    <a:gd name="connsiteX61" fmla="*/ 1167770 w 1905000"/>
                    <a:gd name="connsiteY61" fmla="*/ 1422400 h 4010025"/>
                    <a:gd name="connsiteX62" fmla="*/ 1351594 w 1905000"/>
                    <a:gd name="connsiteY62" fmla="*/ 1422400 h 4010025"/>
                    <a:gd name="connsiteX63" fmla="*/ 1360488 w 1905000"/>
                    <a:gd name="connsiteY63" fmla="*/ 1431432 h 4010025"/>
                    <a:gd name="connsiteX64" fmla="*/ 1360488 w 1905000"/>
                    <a:gd name="connsiteY64" fmla="*/ 1500680 h 4010025"/>
                    <a:gd name="connsiteX65" fmla="*/ 1351594 w 1905000"/>
                    <a:gd name="connsiteY65" fmla="*/ 1509713 h 4010025"/>
                    <a:gd name="connsiteX66" fmla="*/ 1167770 w 1905000"/>
                    <a:gd name="connsiteY66" fmla="*/ 1509713 h 4010025"/>
                    <a:gd name="connsiteX67" fmla="*/ 1158875 w 1905000"/>
                    <a:gd name="connsiteY67" fmla="*/ 1500680 h 4010025"/>
                    <a:gd name="connsiteX68" fmla="*/ 1158875 w 1905000"/>
                    <a:gd name="connsiteY68" fmla="*/ 1431432 h 4010025"/>
                    <a:gd name="connsiteX69" fmla="*/ 1167770 w 1905000"/>
                    <a:gd name="connsiteY69" fmla="*/ 1422400 h 4010025"/>
                    <a:gd name="connsiteX70" fmla="*/ 905886 w 1905000"/>
                    <a:gd name="connsiteY70" fmla="*/ 1422400 h 4010025"/>
                    <a:gd name="connsiteX71" fmla="*/ 1084841 w 1905000"/>
                    <a:gd name="connsiteY71" fmla="*/ 1422400 h 4010025"/>
                    <a:gd name="connsiteX72" fmla="*/ 1093788 w 1905000"/>
                    <a:gd name="connsiteY72" fmla="*/ 1431432 h 4010025"/>
                    <a:gd name="connsiteX73" fmla="*/ 1093788 w 1905000"/>
                    <a:gd name="connsiteY73" fmla="*/ 1500680 h 4010025"/>
                    <a:gd name="connsiteX74" fmla="*/ 1084841 w 1905000"/>
                    <a:gd name="connsiteY74" fmla="*/ 1509713 h 4010025"/>
                    <a:gd name="connsiteX75" fmla="*/ 905886 w 1905000"/>
                    <a:gd name="connsiteY75" fmla="*/ 1509713 h 4010025"/>
                    <a:gd name="connsiteX76" fmla="*/ 896938 w 1905000"/>
                    <a:gd name="connsiteY76" fmla="*/ 1500680 h 4010025"/>
                    <a:gd name="connsiteX77" fmla="*/ 896938 w 1905000"/>
                    <a:gd name="connsiteY77" fmla="*/ 1431432 h 4010025"/>
                    <a:gd name="connsiteX78" fmla="*/ 905886 w 1905000"/>
                    <a:gd name="connsiteY78" fmla="*/ 1422400 h 4010025"/>
                    <a:gd name="connsiteX79" fmla="*/ 581038 w 1905000"/>
                    <a:gd name="connsiteY79" fmla="*/ 1325562 h 4010025"/>
                    <a:gd name="connsiteX80" fmla="*/ 557213 w 1905000"/>
                    <a:gd name="connsiteY80" fmla="*/ 1349368 h 4010025"/>
                    <a:gd name="connsiteX81" fmla="*/ 569126 w 1905000"/>
                    <a:gd name="connsiteY81" fmla="*/ 1414832 h 4010025"/>
                    <a:gd name="connsiteX82" fmla="*/ 575082 w 1905000"/>
                    <a:gd name="connsiteY82" fmla="*/ 1423759 h 4010025"/>
                    <a:gd name="connsiteX83" fmla="*/ 819289 w 1905000"/>
                    <a:gd name="connsiteY83" fmla="*/ 1423759 h 4010025"/>
                    <a:gd name="connsiteX84" fmla="*/ 828223 w 1905000"/>
                    <a:gd name="connsiteY84" fmla="*/ 1429711 h 4010025"/>
                    <a:gd name="connsiteX85" fmla="*/ 828223 w 1905000"/>
                    <a:gd name="connsiteY85" fmla="*/ 1501127 h 4010025"/>
                    <a:gd name="connsiteX86" fmla="*/ 819289 w 1905000"/>
                    <a:gd name="connsiteY86" fmla="*/ 1510054 h 4010025"/>
                    <a:gd name="connsiteX87" fmla="*/ 592951 w 1905000"/>
                    <a:gd name="connsiteY87" fmla="*/ 1510054 h 4010025"/>
                    <a:gd name="connsiteX88" fmla="*/ 586995 w 1905000"/>
                    <a:gd name="connsiteY88" fmla="*/ 1518981 h 4010025"/>
                    <a:gd name="connsiteX89" fmla="*/ 601885 w 1905000"/>
                    <a:gd name="connsiteY89" fmla="*/ 1602300 h 4010025"/>
                    <a:gd name="connsiteX90" fmla="*/ 610820 w 1905000"/>
                    <a:gd name="connsiteY90" fmla="*/ 1611227 h 4010025"/>
                    <a:gd name="connsiteX91" fmla="*/ 819289 w 1905000"/>
                    <a:gd name="connsiteY91" fmla="*/ 1611227 h 4010025"/>
                    <a:gd name="connsiteX92" fmla="*/ 828223 w 1905000"/>
                    <a:gd name="connsiteY92" fmla="*/ 1620154 h 4010025"/>
                    <a:gd name="connsiteX93" fmla="*/ 828223 w 1905000"/>
                    <a:gd name="connsiteY93" fmla="*/ 1691570 h 4010025"/>
                    <a:gd name="connsiteX94" fmla="*/ 819289 w 1905000"/>
                    <a:gd name="connsiteY94" fmla="*/ 1697521 h 4010025"/>
                    <a:gd name="connsiteX95" fmla="*/ 628688 w 1905000"/>
                    <a:gd name="connsiteY95" fmla="*/ 1697521 h 4010025"/>
                    <a:gd name="connsiteX96" fmla="*/ 619754 w 1905000"/>
                    <a:gd name="connsiteY96" fmla="*/ 1706448 h 4010025"/>
                    <a:gd name="connsiteX97" fmla="*/ 634645 w 1905000"/>
                    <a:gd name="connsiteY97" fmla="*/ 1792743 h 4010025"/>
                    <a:gd name="connsiteX98" fmla="*/ 643579 w 1905000"/>
                    <a:gd name="connsiteY98" fmla="*/ 1798694 h 4010025"/>
                    <a:gd name="connsiteX99" fmla="*/ 819289 w 1905000"/>
                    <a:gd name="connsiteY99" fmla="*/ 1798694 h 4010025"/>
                    <a:gd name="connsiteX100" fmla="*/ 828223 w 1905000"/>
                    <a:gd name="connsiteY100" fmla="*/ 1807621 h 4010025"/>
                    <a:gd name="connsiteX101" fmla="*/ 828223 w 1905000"/>
                    <a:gd name="connsiteY101" fmla="*/ 1879037 h 4010025"/>
                    <a:gd name="connsiteX102" fmla="*/ 819289 w 1905000"/>
                    <a:gd name="connsiteY102" fmla="*/ 1887964 h 4010025"/>
                    <a:gd name="connsiteX103" fmla="*/ 661448 w 1905000"/>
                    <a:gd name="connsiteY103" fmla="*/ 1887964 h 4010025"/>
                    <a:gd name="connsiteX104" fmla="*/ 652514 w 1905000"/>
                    <a:gd name="connsiteY104" fmla="*/ 1896891 h 4010025"/>
                    <a:gd name="connsiteX105" fmla="*/ 667404 w 1905000"/>
                    <a:gd name="connsiteY105" fmla="*/ 1965332 h 4010025"/>
                    <a:gd name="connsiteX106" fmla="*/ 667404 w 1905000"/>
                    <a:gd name="connsiteY106" fmla="*/ 1968307 h 4010025"/>
                    <a:gd name="connsiteX107" fmla="*/ 688251 w 1905000"/>
                    <a:gd name="connsiteY107" fmla="*/ 1989137 h 4010025"/>
                    <a:gd name="connsiteX108" fmla="*/ 1566801 w 1905000"/>
                    <a:gd name="connsiteY108" fmla="*/ 1989137 h 4010025"/>
                    <a:gd name="connsiteX109" fmla="*/ 1590626 w 1905000"/>
                    <a:gd name="connsiteY109" fmla="*/ 1965332 h 4010025"/>
                    <a:gd name="connsiteX110" fmla="*/ 1602538 w 1905000"/>
                    <a:gd name="connsiteY110" fmla="*/ 1896891 h 4010025"/>
                    <a:gd name="connsiteX111" fmla="*/ 1596582 w 1905000"/>
                    <a:gd name="connsiteY111" fmla="*/ 1887964 h 4010025"/>
                    <a:gd name="connsiteX112" fmla="*/ 1435763 w 1905000"/>
                    <a:gd name="connsiteY112" fmla="*/ 1887964 h 4010025"/>
                    <a:gd name="connsiteX113" fmla="*/ 1426829 w 1905000"/>
                    <a:gd name="connsiteY113" fmla="*/ 1879037 h 4010025"/>
                    <a:gd name="connsiteX114" fmla="*/ 1426829 w 1905000"/>
                    <a:gd name="connsiteY114" fmla="*/ 1807621 h 4010025"/>
                    <a:gd name="connsiteX115" fmla="*/ 1435763 w 1905000"/>
                    <a:gd name="connsiteY115" fmla="*/ 1798694 h 4010025"/>
                    <a:gd name="connsiteX116" fmla="*/ 1611473 w 1905000"/>
                    <a:gd name="connsiteY116" fmla="*/ 1798694 h 4010025"/>
                    <a:gd name="connsiteX117" fmla="*/ 1617429 w 1905000"/>
                    <a:gd name="connsiteY117" fmla="*/ 1792743 h 4010025"/>
                    <a:gd name="connsiteX118" fmla="*/ 1632320 w 1905000"/>
                    <a:gd name="connsiteY118" fmla="*/ 1706448 h 4010025"/>
                    <a:gd name="connsiteX119" fmla="*/ 1623385 w 1905000"/>
                    <a:gd name="connsiteY119" fmla="*/ 1697521 h 4010025"/>
                    <a:gd name="connsiteX120" fmla="*/ 1435763 w 1905000"/>
                    <a:gd name="connsiteY120" fmla="*/ 1697521 h 4010025"/>
                    <a:gd name="connsiteX121" fmla="*/ 1426829 w 1905000"/>
                    <a:gd name="connsiteY121" fmla="*/ 1691570 h 4010025"/>
                    <a:gd name="connsiteX122" fmla="*/ 1426829 w 1905000"/>
                    <a:gd name="connsiteY122" fmla="*/ 1620154 h 4010025"/>
                    <a:gd name="connsiteX123" fmla="*/ 1435763 w 1905000"/>
                    <a:gd name="connsiteY123" fmla="*/ 1611227 h 4010025"/>
                    <a:gd name="connsiteX124" fmla="*/ 1641254 w 1905000"/>
                    <a:gd name="connsiteY124" fmla="*/ 1611227 h 4010025"/>
                    <a:gd name="connsiteX125" fmla="*/ 1647210 w 1905000"/>
                    <a:gd name="connsiteY125" fmla="*/ 1602300 h 4010025"/>
                    <a:gd name="connsiteX126" fmla="*/ 1659123 w 1905000"/>
                    <a:gd name="connsiteY126" fmla="*/ 1518981 h 4010025"/>
                    <a:gd name="connsiteX127" fmla="*/ 1653167 w 1905000"/>
                    <a:gd name="connsiteY127" fmla="*/ 1510054 h 4010025"/>
                    <a:gd name="connsiteX128" fmla="*/ 1435763 w 1905000"/>
                    <a:gd name="connsiteY128" fmla="*/ 1510054 h 4010025"/>
                    <a:gd name="connsiteX129" fmla="*/ 1426829 w 1905000"/>
                    <a:gd name="connsiteY129" fmla="*/ 1501127 h 4010025"/>
                    <a:gd name="connsiteX130" fmla="*/ 1426829 w 1905000"/>
                    <a:gd name="connsiteY130" fmla="*/ 1429711 h 4010025"/>
                    <a:gd name="connsiteX131" fmla="*/ 1435763 w 1905000"/>
                    <a:gd name="connsiteY131" fmla="*/ 1423759 h 4010025"/>
                    <a:gd name="connsiteX132" fmla="*/ 1668057 w 1905000"/>
                    <a:gd name="connsiteY132" fmla="*/ 1423759 h 4010025"/>
                    <a:gd name="connsiteX133" fmla="*/ 1674014 w 1905000"/>
                    <a:gd name="connsiteY133" fmla="*/ 1414832 h 4010025"/>
                    <a:gd name="connsiteX134" fmla="*/ 1685926 w 1905000"/>
                    <a:gd name="connsiteY134" fmla="*/ 1349368 h 4010025"/>
                    <a:gd name="connsiteX135" fmla="*/ 1662101 w 1905000"/>
                    <a:gd name="connsiteY135" fmla="*/ 1325562 h 4010025"/>
                    <a:gd name="connsiteX136" fmla="*/ 581038 w 1905000"/>
                    <a:gd name="connsiteY136" fmla="*/ 1325562 h 4010025"/>
                    <a:gd name="connsiteX137" fmla="*/ 259347 w 1905000"/>
                    <a:gd name="connsiteY137" fmla="*/ 1182687 h 4010025"/>
                    <a:gd name="connsiteX138" fmla="*/ 220663 w 1905000"/>
                    <a:gd name="connsiteY138" fmla="*/ 1221350 h 4010025"/>
                    <a:gd name="connsiteX139" fmla="*/ 259347 w 1905000"/>
                    <a:gd name="connsiteY139" fmla="*/ 1260012 h 4010025"/>
                    <a:gd name="connsiteX140" fmla="*/ 417055 w 1905000"/>
                    <a:gd name="connsiteY140" fmla="*/ 1260012 h 4010025"/>
                    <a:gd name="connsiteX141" fmla="*/ 559886 w 1905000"/>
                    <a:gd name="connsiteY141" fmla="*/ 2092747 h 4010025"/>
                    <a:gd name="connsiteX142" fmla="*/ 598569 w 1905000"/>
                    <a:gd name="connsiteY142" fmla="*/ 2122487 h 4010025"/>
                    <a:gd name="connsiteX143" fmla="*/ 1461505 w 1905000"/>
                    <a:gd name="connsiteY143" fmla="*/ 2122487 h 4010025"/>
                    <a:gd name="connsiteX144" fmla="*/ 1500188 w 1905000"/>
                    <a:gd name="connsiteY144" fmla="*/ 2083824 h 4010025"/>
                    <a:gd name="connsiteX145" fmla="*/ 1461505 w 1905000"/>
                    <a:gd name="connsiteY145" fmla="*/ 2045162 h 4010025"/>
                    <a:gd name="connsiteX146" fmla="*/ 631301 w 1905000"/>
                    <a:gd name="connsiteY146" fmla="*/ 2045162 h 4010025"/>
                    <a:gd name="connsiteX147" fmla="*/ 488471 w 1905000"/>
                    <a:gd name="connsiteY147" fmla="*/ 1215402 h 4010025"/>
                    <a:gd name="connsiteX148" fmla="*/ 449787 w 1905000"/>
                    <a:gd name="connsiteY148" fmla="*/ 1182687 h 4010025"/>
                    <a:gd name="connsiteX149" fmla="*/ 259347 w 1905000"/>
                    <a:gd name="connsiteY149" fmla="*/ 1182687 h 4010025"/>
                    <a:gd name="connsiteX150" fmla="*/ 29766 w 1905000"/>
                    <a:gd name="connsiteY150" fmla="*/ 319087 h 4010025"/>
                    <a:gd name="connsiteX151" fmla="*/ 1875235 w 1905000"/>
                    <a:gd name="connsiteY151" fmla="*/ 319087 h 4010025"/>
                    <a:gd name="connsiteX152" fmla="*/ 1905000 w 1905000"/>
                    <a:gd name="connsiteY152" fmla="*/ 348853 h 4010025"/>
                    <a:gd name="connsiteX153" fmla="*/ 1905000 w 1905000"/>
                    <a:gd name="connsiteY153" fmla="*/ 3265884 h 4010025"/>
                    <a:gd name="connsiteX154" fmla="*/ 1875235 w 1905000"/>
                    <a:gd name="connsiteY154" fmla="*/ 3295650 h 4010025"/>
                    <a:gd name="connsiteX155" fmla="*/ 29766 w 1905000"/>
                    <a:gd name="connsiteY155" fmla="*/ 3295650 h 4010025"/>
                    <a:gd name="connsiteX156" fmla="*/ 0 w 1905000"/>
                    <a:gd name="connsiteY156" fmla="*/ 3265884 h 4010025"/>
                    <a:gd name="connsiteX157" fmla="*/ 0 w 1905000"/>
                    <a:gd name="connsiteY157" fmla="*/ 348853 h 4010025"/>
                    <a:gd name="connsiteX158" fmla="*/ 29766 w 1905000"/>
                    <a:gd name="connsiteY158" fmla="*/ 319087 h 4010025"/>
                    <a:gd name="connsiteX159" fmla="*/ 581451 w 1905000"/>
                    <a:gd name="connsiteY159" fmla="*/ 0 h 4010025"/>
                    <a:gd name="connsiteX160" fmla="*/ 1337838 w 1905000"/>
                    <a:gd name="connsiteY160" fmla="*/ 0 h 4010025"/>
                    <a:gd name="connsiteX161" fmla="*/ 1403351 w 1905000"/>
                    <a:gd name="connsiteY161" fmla="*/ 65970 h 4010025"/>
                    <a:gd name="connsiteX162" fmla="*/ 1337838 w 1905000"/>
                    <a:gd name="connsiteY162" fmla="*/ 134938 h 4010025"/>
                    <a:gd name="connsiteX163" fmla="*/ 581451 w 1905000"/>
                    <a:gd name="connsiteY163" fmla="*/ 134938 h 4010025"/>
                    <a:gd name="connsiteX164" fmla="*/ 515938 w 1905000"/>
                    <a:gd name="connsiteY164" fmla="*/ 65970 h 4010025"/>
                    <a:gd name="connsiteX165" fmla="*/ 581451 w 1905000"/>
                    <a:gd name="connsiteY165" fmla="*/ 0 h 4010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</a:cxnLst>
                  <a:rect l="l" t="t" r="r" b="b"/>
                  <a:pathLst>
                    <a:path w="1905000" h="4010025">
                      <a:moveTo>
                        <a:pt x="956469" y="3659187"/>
                      </a:moveTo>
                      <a:cubicBezTo>
                        <a:pt x="1051597" y="3659187"/>
                        <a:pt x="1128713" y="3737725"/>
                        <a:pt x="1128713" y="3834606"/>
                      </a:cubicBezTo>
                      <a:cubicBezTo>
                        <a:pt x="1128713" y="3931487"/>
                        <a:pt x="1051597" y="4010025"/>
                        <a:pt x="956469" y="4010025"/>
                      </a:cubicBezTo>
                      <a:cubicBezTo>
                        <a:pt x="861341" y="4010025"/>
                        <a:pt x="784225" y="3931487"/>
                        <a:pt x="784225" y="3834606"/>
                      </a:cubicBezTo>
                      <a:cubicBezTo>
                        <a:pt x="784225" y="3737725"/>
                        <a:pt x="861341" y="3659187"/>
                        <a:pt x="956469" y="3659187"/>
                      </a:cubicBezTo>
                      <a:close/>
                      <a:moveTo>
                        <a:pt x="1360488" y="2247900"/>
                      </a:moveTo>
                      <a:cubicBezTo>
                        <a:pt x="1401696" y="2247900"/>
                        <a:pt x="1435101" y="2281661"/>
                        <a:pt x="1435101" y="2323307"/>
                      </a:cubicBezTo>
                      <a:cubicBezTo>
                        <a:pt x="1435101" y="2364953"/>
                        <a:pt x="1401696" y="2398714"/>
                        <a:pt x="1360488" y="2398714"/>
                      </a:cubicBezTo>
                      <a:cubicBezTo>
                        <a:pt x="1319280" y="2398714"/>
                        <a:pt x="1285875" y="2364953"/>
                        <a:pt x="1285875" y="2323307"/>
                      </a:cubicBezTo>
                      <a:cubicBezTo>
                        <a:pt x="1285875" y="2281661"/>
                        <a:pt x="1319280" y="2247900"/>
                        <a:pt x="1360488" y="2247900"/>
                      </a:cubicBezTo>
                      <a:close/>
                      <a:moveTo>
                        <a:pt x="695325" y="2247900"/>
                      </a:moveTo>
                      <a:cubicBezTo>
                        <a:pt x="737409" y="2247900"/>
                        <a:pt x="771525" y="2281661"/>
                        <a:pt x="771525" y="2323307"/>
                      </a:cubicBezTo>
                      <a:cubicBezTo>
                        <a:pt x="771525" y="2364953"/>
                        <a:pt x="737409" y="2398714"/>
                        <a:pt x="695325" y="2398714"/>
                      </a:cubicBezTo>
                      <a:cubicBezTo>
                        <a:pt x="653241" y="2398714"/>
                        <a:pt x="619125" y="2364953"/>
                        <a:pt x="619125" y="2323307"/>
                      </a:cubicBezTo>
                      <a:cubicBezTo>
                        <a:pt x="619125" y="2281661"/>
                        <a:pt x="653241" y="2247900"/>
                        <a:pt x="695325" y="2247900"/>
                      </a:cubicBezTo>
                      <a:close/>
                      <a:moveTo>
                        <a:pt x="1361282" y="2211387"/>
                      </a:moveTo>
                      <a:cubicBezTo>
                        <a:pt x="1300347" y="2211387"/>
                        <a:pt x="1250950" y="2260784"/>
                        <a:pt x="1250950" y="2321719"/>
                      </a:cubicBezTo>
                      <a:cubicBezTo>
                        <a:pt x="1250950" y="2382654"/>
                        <a:pt x="1300347" y="2432051"/>
                        <a:pt x="1361282" y="2432051"/>
                      </a:cubicBezTo>
                      <a:cubicBezTo>
                        <a:pt x="1422217" y="2432051"/>
                        <a:pt x="1471614" y="2382654"/>
                        <a:pt x="1471614" y="2321719"/>
                      </a:cubicBezTo>
                      <a:cubicBezTo>
                        <a:pt x="1471614" y="2260784"/>
                        <a:pt x="1422217" y="2211387"/>
                        <a:pt x="1361282" y="2211387"/>
                      </a:cubicBezTo>
                      <a:close/>
                      <a:moveTo>
                        <a:pt x="696119" y="2211387"/>
                      </a:moveTo>
                      <a:cubicBezTo>
                        <a:pt x="636061" y="2211387"/>
                        <a:pt x="587375" y="2260784"/>
                        <a:pt x="587375" y="2321719"/>
                      </a:cubicBezTo>
                      <a:cubicBezTo>
                        <a:pt x="587375" y="2382654"/>
                        <a:pt x="636061" y="2432051"/>
                        <a:pt x="696119" y="2432051"/>
                      </a:cubicBezTo>
                      <a:cubicBezTo>
                        <a:pt x="756177" y="2432051"/>
                        <a:pt x="804863" y="2382654"/>
                        <a:pt x="804863" y="2321719"/>
                      </a:cubicBezTo>
                      <a:cubicBezTo>
                        <a:pt x="804863" y="2260784"/>
                        <a:pt x="756177" y="2211387"/>
                        <a:pt x="696119" y="2211387"/>
                      </a:cubicBezTo>
                      <a:close/>
                      <a:moveTo>
                        <a:pt x="1167770" y="1798637"/>
                      </a:moveTo>
                      <a:cubicBezTo>
                        <a:pt x="1351594" y="1798637"/>
                        <a:pt x="1351594" y="1798637"/>
                        <a:pt x="1351594" y="1798637"/>
                      </a:cubicBezTo>
                      <a:cubicBezTo>
                        <a:pt x="1354558" y="1798637"/>
                        <a:pt x="1360488" y="1801600"/>
                        <a:pt x="1360488" y="1807527"/>
                      </a:cubicBezTo>
                      <a:cubicBezTo>
                        <a:pt x="1360488" y="1878647"/>
                        <a:pt x="1360488" y="1878647"/>
                        <a:pt x="1360488" y="1878647"/>
                      </a:cubicBezTo>
                      <a:cubicBezTo>
                        <a:pt x="1360488" y="1884574"/>
                        <a:pt x="1354558" y="1887537"/>
                        <a:pt x="1351594" y="1887537"/>
                      </a:cubicBezTo>
                      <a:cubicBezTo>
                        <a:pt x="1167770" y="1887537"/>
                        <a:pt x="1167770" y="1887537"/>
                        <a:pt x="1167770" y="1887537"/>
                      </a:cubicBezTo>
                      <a:cubicBezTo>
                        <a:pt x="1164805" y="1887537"/>
                        <a:pt x="1158875" y="1884574"/>
                        <a:pt x="1158875" y="1878647"/>
                      </a:cubicBezTo>
                      <a:cubicBezTo>
                        <a:pt x="1158875" y="1807527"/>
                        <a:pt x="1158875" y="1807527"/>
                        <a:pt x="1158875" y="1807527"/>
                      </a:cubicBezTo>
                      <a:cubicBezTo>
                        <a:pt x="1158875" y="1801600"/>
                        <a:pt x="1164805" y="1798637"/>
                        <a:pt x="1167770" y="1798637"/>
                      </a:cubicBezTo>
                      <a:close/>
                      <a:moveTo>
                        <a:pt x="905886" y="1798637"/>
                      </a:moveTo>
                      <a:cubicBezTo>
                        <a:pt x="1084841" y="1798637"/>
                        <a:pt x="1084841" y="1798637"/>
                        <a:pt x="1084841" y="1798637"/>
                      </a:cubicBezTo>
                      <a:cubicBezTo>
                        <a:pt x="1090806" y="1798637"/>
                        <a:pt x="1093788" y="1801600"/>
                        <a:pt x="1093788" y="1807527"/>
                      </a:cubicBezTo>
                      <a:cubicBezTo>
                        <a:pt x="1093788" y="1878647"/>
                        <a:pt x="1093788" y="1878647"/>
                        <a:pt x="1093788" y="1878647"/>
                      </a:cubicBezTo>
                      <a:cubicBezTo>
                        <a:pt x="1093788" y="1884574"/>
                        <a:pt x="1090806" y="1887537"/>
                        <a:pt x="1084841" y="1887537"/>
                      </a:cubicBezTo>
                      <a:cubicBezTo>
                        <a:pt x="905886" y="1887537"/>
                        <a:pt x="905886" y="1887537"/>
                        <a:pt x="905886" y="1887537"/>
                      </a:cubicBezTo>
                      <a:cubicBezTo>
                        <a:pt x="899921" y="1887537"/>
                        <a:pt x="896938" y="1884574"/>
                        <a:pt x="896938" y="1878647"/>
                      </a:cubicBezTo>
                      <a:cubicBezTo>
                        <a:pt x="896938" y="1807527"/>
                        <a:pt x="896938" y="1807527"/>
                        <a:pt x="896938" y="1807527"/>
                      </a:cubicBezTo>
                      <a:cubicBezTo>
                        <a:pt x="896938" y="1801600"/>
                        <a:pt x="899921" y="1798637"/>
                        <a:pt x="905886" y="1798637"/>
                      </a:cubicBezTo>
                      <a:close/>
                      <a:moveTo>
                        <a:pt x="1167770" y="1611312"/>
                      </a:moveTo>
                      <a:cubicBezTo>
                        <a:pt x="1351594" y="1611312"/>
                        <a:pt x="1351594" y="1611312"/>
                        <a:pt x="1351594" y="1611312"/>
                      </a:cubicBezTo>
                      <a:cubicBezTo>
                        <a:pt x="1354558" y="1611312"/>
                        <a:pt x="1360488" y="1614268"/>
                        <a:pt x="1360488" y="1620180"/>
                      </a:cubicBezTo>
                      <a:cubicBezTo>
                        <a:pt x="1360488" y="1691125"/>
                        <a:pt x="1360488" y="1691125"/>
                        <a:pt x="1360488" y="1691125"/>
                      </a:cubicBezTo>
                      <a:cubicBezTo>
                        <a:pt x="1360488" y="1694081"/>
                        <a:pt x="1354558" y="1697037"/>
                        <a:pt x="1351594" y="1697037"/>
                      </a:cubicBezTo>
                      <a:cubicBezTo>
                        <a:pt x="1167770" y="1697037"/>
                        <a:pt x="1167770" y="1697037"/>
                        <a:pt x="1167770" y="1697037"/>
                      </a:cubicBezTo>
                      <a:cubicBezTo>
                        <a:pt x="1164805" y="1697037"/>
                        <a:pt x="1158875" y="1694081"/>
                        <a:pt x="1158875" y="1691125"/>
                      </a:cubicBezTo>
                      <a:cubicBezTo>
                        <a:pt x="1158875" y="1620180"/>
                        <a:pt x="1158875" y="1620180"/>
                        <a:pt x="1158875" y="1620180"/>
                      </a:cubicBezTo>
                      <a:cubicBezTo>
                        <a:pt x="1158875" y="1614268"/>
                        <a:pt x="1164805" y="1611312"/>
                        <a:pt x="1167770" y="1611312"/>
                      </a:cubicBezTo>
                      <a:close/>
                      <a:moveTo>
                        <a:pt x="905886" y="1611312"/>
                      </a:moveTo>
                      <a:cubicBezTo>
                        <a:pt x="1084841" y="1611312"/>
                        <a:pt x="1084841" y="1611312"/>
                        <a:pt x="1084841" y="1611312"/>
                      </a:cubicBezTo>
                      <a:cubicBezTo>
                        <a:pt x="1090806" y="1611312"/>
                        <a:pt x="1093788" y="1614268"/>
                        <a:pt x="1093788" y="1620180"/>
                      </a:cubicBezTo>
                      <a:cubicBezTo>
                        <a:pt x="1093788" y="1691125"/>
                        <a:pt x="1093788" y="1691125"/>
                        <a:pt x="1093788" y="1691125"/>
                      </a:cubicBezTo>
                      <a:cubicBezTo>
                        <a:pt x="1093788" y="1694081"/>
                        <a:pt x="1090806" y="1697037"/>
                        <a:pt x="1084841" y="1697037"/>
                      </a:cubicBezTo>
                      <a:cubicBezTo>
                        <a:pt x="905886" y="1697037"/>
                        <a:pt x="905886" y="1697037"/>
                        <a:pt x="905886" y="1697037"/>
                      </a:cubicBezTo>
                      <a:cubicBezTo>
                        <a:pt x="899921" y="1697037"/>
                        <a:pt x="896938" y="1694081"/>
                        <a:pt x="896938" y="1691125"/>
                      </a:cubicBezTo>
                      <a:cubicBezTo>
                        <a:pt x="896938" y="1620180"/>
                        <a:pt x="896938" y="1620180"/>
                        <a:pt x="896938" y="1620180"/>
                      </a:cubicBezTo>
                      <a:cubicBezTo>
                        <a:pt x="896938" y="1614268"/>
                        <a:pt x="899921" y="1611312"/>
                        <a:pt x="905886" y="1611312"/>
                      </a:cubicBezTo>
                      <a:close/>
                      <a:moveTo>
                        <a:pt x="1167770" y="1422400"/>
                      </a:moveTo>
                      <a:cubicBezTo>
                        <a:pt x="1351594" y="1422400"/>
                        <a:pt x="1351594" y="1422400"/>
                        <a:pt x="1351594" y="1422400"/>
                      </a:cubicBezTo>
                      <a:cubicBezTo>
                        <a:pt x="1354558" y="1422400"/>
                        <a:pt x="1360488" y="1425411"/>
                        <a:pt x="1360488" y="1431432"/>
                      </a:cubicBezTo>
                      <a:cubicBezTo>
                        <a:pt x="1360488" y="1500680"/>
                        <a:pt x="1360488" y="1500680"/>
                        <a:pt x="1360488" y="1500680"/>
                      </a:cubicBezTo>
                      <a:cubicBezTo>
                        <a:pt x="1360488" y="1506702"/>
                        <a:pt x="1354558" y="1509713"/>
                        <a:pt x="1351594" y="1509713"/>
                      </a:cubicBezTo>
                      <a:cubicBezTo>
                        <a:pt x="1167770" y="1509713"/>
                        <a:pt x="1167770" y="1509713"/>
                        <a:pt x="1167770" y="1509713"/>
                      </a:cubicBezTo>
                      <a:cubicBezTo>
                        <a:pt x="1164805" y="1509713"/>
                        <a:pt x="1158875" y="1506702"/>
                        <a:pt x="1158875" y="1500680"/>
                      </a:cubicBezTo>
                      <a:cubicBezTo>
                        <a:pt x="1158875" y="1431432"/>
                        <a:pt x="1158875" y="1431432"/>
                        <a:pt x="1158875" y="1431432"/>
                      </a:cubicBezTo>
                      <a:cubicBezTo>
                        <a:pt x="1158875" y="1425411"/>
                        <a:pt x="1164805" y="1422400"/>
                        <a:pt x="1167770" y="1422400"/>
                      </a:cubicBezTo>
                      <a:close/>
                      <a:moveTo>
                        <a:pt x="905886" y="1422400"/>
                      </a:moveTo>
                      <a:cubicBezTo>
                        <a:pt x="1084841" y="1422400"/>
                        <a:pt x="1084841" y="1422400"/>
                        <a:pt x="1084841" y="1422400"/>
                      </a:cubicBezTo>
                      <a:cubicBezTo>
                        <a:pt x="1090806" y="1422400"/>
                        <a:pt x="1093788" y="1425411"/>
                        <a:pt x="1093788" y="1431432"/>
                      </a:cubicBezTo>
                      <a:cubicBezTo>
                        <a:pt x="1093788" y="1500680"/>
                        <a:pt x="1093788" y="1500680"/>
                        <a:pt x="1093788" y="1500680"/>
                      </a:cubicBezTo>
                      <a:cubicBezTo>
                        <a:pt x="1093788" y="1506702"/>
                        <a:pt x="1090806" y="1509713"/>
                        <a:pt x="1084841" y="1509713"/>
                      </a:cubicBezTo>
                      <a:cubicBezTo>
                        <a:pt x="905886" y="1509713"/>
                        <a:pt x="905886" y="1509713"/>
                        <a:pt x="905886" y="1509713"/>
                      </a:cubicBezTo>
                      <a:cubicBezTo>
                        <a:pt x="899921" y="1509713"/>
                        <a:pt x="896938" y="1506702"/>
                        <a:pt x="896938" y="1500680"/>
                      </a:cubicBezTo>
                      <a:cubicBezTo>
                        <a:pt x="896938" y="1431432"/>
                        <a:pt x="896938" y="1431432"/>
                        <a:pt x="896938" y="1431432"/>
                      </a:cubicBezTo>
                      <a:cubicBezTo>
                        <a:pt x="896938" y="1425411"/>
                        <a:pt x="899921" y="1422400"/>
                        <a:pt x="905886" y="1422400"/>
                      </a:cubicBezTo>
                      <a:close/>
                      <a:moveTo>
                        <a:pt x="581038" y="1325562"/>
                      </a:moveTo>
                      <a:cubicBezTo>
                        <a:pt x="569126" y="1325562"/>
                        <a:pt x="557213" y="1337465"/>
                        <a:pt x="557213" y="1349368"/>
                      </a:cubicBezTo>
                      <a:cubicBezTo>
                        <a:pt x="569126" y="1414832"/>
                        <a:pt x="569126" y="1414832"/>
                        <a:pt x="569126" y="1414832"/>
                      </a:cubicBezTo>
                      <a:cubicBezTo>
                        <a:pt x="569126" y="1417808"/>
                        <a:pt x="572104" y="1423759"/>
                        <a:pt x="575082" y="1423759"/>
                      </a:cubicBezTo>
                      <a:cubicBezTo>
                        <a:pt x="819289" y="1423759"/>
                        <a:pt x="819289" y="1423759"/>
                        <a:pt x="819289" y="1423759"/>
                      </a:cubicBezTo>
                      <a:cubicBezTo>
                        <a:pt x="825245" y="1423759"/>
                        <a:pt x="828223" y="1423759"/>
                        <a:pt x="828223" y="1429711"/>
                      </a:cubicBezTo>
                      <a:cubicBezTo>
                        <a:pt x="828223" y="1501127"/>
                        <a:pt x="828223" y="1501127"/>
                        <a:pt x="828223" y="1501127"/>
                      </a:cubicBezTo>
                      <a:cubicBezTo>
                        <a:pt x="828223" y="1507078"/>
                        <a:pt x="825245" y="1510054"/>
                        <a:pt x="819289" y="1510054"/>
                      </a:cubicBezTo>
                      <a:cubicBezTo>
                        <a:pt x="592951" y="1510054"/>
                        <a:pt x="592951" y="1510054"/>
                        <a:pt x="592951" y="1510054"/>
                      </a:cubicBezTo>
                      <a:cubicBezTo>
                        <a:pt x="589973" y="1510054"/>
                        <a:pt x="586995" y="1513030"/>
                        <a:pt x="586995" y="1518981"/>
                      </a:cubicBezTo>
                      <a:cubicBezTo>
                        <a:pt x="601885" y="1602300"/>
                        <a:pt x="601885" y="1602300"/>
                        <a:pt x="601885" y="1602300"/>
                      </a:cubicBezTo>
                      <a:cubicBezTo>
                        <a:pt x="601885" y="1608251"/>
                        <a:pt x="607842" y="1611227"/>
                        <a:pt x="610820" y="1611227"/>
                      </a:cubicBezTo>
                      <a:cubicBezTo>
                        <a:pt x="819289" y="1611227"/>
                        <a:pt x="819289" y="1611227"/>
                        <a:pt x="819289" y="1611227"/>
                      </a:cubicBezTo>
                      <a:cubicBezTo>
                        <a:pt x="825245" y="1611227"/>
                        <a:pt x="828223" y="1614202"/>
                        <a:pt x="828223" y="1620154"/>
                      </a:cubicBezTo>
                      <a:cubicBezTo>
                        <a:pt x="828223" y="1691570"/>
                        <a:pt x="828223" y="1691570"/>
                        <a:pt x="828223" y="1691570"/>
                      </a:cubicBezTo>
                      <a:cubicBezTo>
                        <a:pt x="828223" y="1694546"/>
                        <a:pt x="825245" y="1697521"/>
                        <a:pt x="819289" y="1697521"/>
                      </a:cubicBezTo>
                      <a:cubicBezTo>
                        <a:pt x="628688" y="1697521"/>
                        <a:pt x="628688" y="1697521"/>
                        <a:pt x="628688" y="1697521"/>
                      </a:cubicBezTo>
                      <a:cubicBezTo>
                        <a:pt x="625710" y="1697521"/>
                        <a:pt x="619754" y="1703473"/>
                        <a:pt x="619754" y="1706448"/>
                      </a:cubicBezTo>
                      <a:cubicBezTo>
                        <a:pt x="634645" y="1792743"/>
                        <a:pt x="634645" y="1792743"/>
                        <a:pt x="634645" y="1792743"/>
                      </a:cubicBezTo>
                      <a:cubicBezTo>
                        <a:pt x="637623" y="1795718"/>
                        <a:pt x="637623" y="1798694"/>
                        <a:pt x="643579" y="1798694"/>
                      </a:cubicBezTo>
                      <a:cubicBezTo>
                        <a:pt x="819289" y="1798694"/>
                        <a:pt x="819289" y="1798694"/>
                        <a:pt x="819289" y="1798694"/>
                      </a:cubicBezTo>
                      <a:cubicBezTo>
                        <a:pt x="825245" y="1798694"/>
                        <a:pt x="828223" y="1801670"/>
                        <a:pt x="828223" y="1807621"/>
                      </a:cubicBezTo>
                      <a:cubicBezTo>
                        <a:pt x="828223" y="1879037"/>
                        <a:pt x="828223" y="1879037"/>
                        <a:pt x="828223" y="1879037"/>
                      </a:cubicBezTo>
                      <a:cubicBezTo>
                        <a:pt x="828223" y="1884989"/>
                        <a:pt x="825245" y="1887964"/>
                        <a:pt x="819289" y="1887964"/>
                      </a:cubicBezTo>
                      <a:cubicBezTo>
                        <a:pt x="661448" y="1887964"/>
                        <a:pt x="661448" y="1887964"/>
                        <a:pt x="661448" y="1887964"/>
                      </a:cubicBezTo>
                      <a:cubicBezTo>
                        <a:pt x="655492" y="1887964"/>
                        <a:pt x="652514" y="1890940"/>
                        <a:pt x="652514" y="1896891"/>
                      </a:cubicBezTo>
                      <a:cubicBezTo>
                        <a:pt x="667404" y="1965332"/>
                        <a:pt x="667404" y="1965332"/>
                        <a:pt x="667404" y="1965332"/>
                      </a:cubicBezTo>
                      <a:cubicBezTo>
                        <a:pt x="667404" y="1965332"/>
                        <a:pt x="667404" y="1965332"/>
                        <a:pt x="667404" y="1968307"/>
                      </a:cubicBezTo>
                      <a:cubicBezTo>
                        <a:pt x="667404" y="1980210"/>
                        <a:pt x="676339" y="1989137"/>
                        <a:pt x="688251" y="1989137"/>
                      </a:cubicBezTo>
                      <a:cubicBezTo>
                        <a:pt x="1566801" y="1989137"/>
                        <a:pt x="1566801" y="1989137"/>
                        <a:pt x="1566801" y="1989137"/>
                      </a:cubicBezTo>
                      <a:cubicBezTo>
                        <a:pt x="1581692" y="1989137"/>
                        <a:pt x="1590626" y="1980210"/>
                        <a:pt x="1590626" y="1965332"/>
                      </a:cubicBezTo>
                      <a:cubicBezTo>
                        <a:pt x="1602538" y="1896891"/>
                        <a:pt x="1602538" y="1896891"/>
                        <a:pt x="1602538" y="1896891"/>
                      </a:cubicBezTo>
                      <a:cubicBezTo>
                        <a:pt x="1605517" y="1890940"/>
                        <a:pt x="1599560" y="1887964"/>
                        <a:pt x="1596582" y="1887964"/>
                      </a:cubicBezTo>
                      <a:cubicBezTo>
                        <a:pt x="1435763" y="1887964"/>
                        <a:pt x="1435763" y="1887964"/>
                        <a:pt x="1435763" y="1887964"/>
                      </a:cubicBezTo>
                      <a:cubicBezTo>
                        <a:pt x="1429807" y="1887964"/>
                        <a:pt x="1426829" y="1884989"/>
                        <a:pt x="1426829" y="1879037"/>
                      </a:cubicBezTo>
                      <a:cubicBezTo>
                        <a:pt x="1426829" y="1807621"/>
                        <a:pt x="1426829" y="1807621"/>
                        <a:pt x="1426829" y="1807621"/>
                      </a:cubicBezTo>
                      <a:cubicBezTo>
                        <a:pt x="1426829" y="1801670"/>
                        <a:pt x="1429807" y="1798694"/>
                        <a:pt x="1435763" y="1798694"/>
                      </a:cubicBezTo>
                      <a:cubicBezTo>
                        <a:pt x="1611473" y="1798694"/>
                        <a:pt x="1611473" y="1798694"/>
                        <a:pt x="1611473" y="1798694"/>
                      </a:cubicBezTo>
                      <a:cubicBezTo>
                        <a:pt x="1614451" y="1798694"/>
                        <a:pt x="1617429" y="1795718"/>
                        <a:pt x="1617429" y="1792743"/>
                      </a:cubicBezTo>
                      <a:cubicBezTo>
                        <a:pt x="1632320" y="1706448"/>
                        <a:pt x="1632320" y="1706448"/>
                        <a:pt x="1632320" y="1706448"/>
                      </a:cubicBezTo>
                      <a:cubicBezTo>
                        <a:pt x="1632320" y="1703473"/>
                        <a:pt x="1629342" y="1697521"/>
                        <a:pt x="1623385" y="1697521"/>
                      </a:cubicBezTo>
                      <a:cubicBezTo>
                        <a:pt x="1435763" y="1697521"/>
                        <a:pt x="1435763" y="1697521"/>
                        <a:pt x="1435763" y="1697521"/>
                      </a:cubicBezTo>
                      <a:cubicBezTo>
                        <a:pt x="1429807" y="1697521"/>
                        <a:pt x="1426829" y="1694546"/>
                        <a:pt x="1426829" y="1691570"/>
                      </a:cubicBezTo>
                      <a:cubicBezTo>
                        <a:pt x="1426829" y="1620154"/>
                        <a:pt x="1426829" y="1620154"/>
                        <a:pt x="1426829" y="1620154"/>
                      </a:cubicBezTo>
                      <a:cubicBezTo>
                        <a:pt x="1426829" y="1614202"/>
                        <a:pt x="1429807" y="1611227"/>
                        <a:pt x="1435763" y="1611227"/>
                      </a:cubicBezTo>
                      <a:cubicBezTo>
                        <a:pt x="1641254" y="1611227"/>
                        <a:pt x="1641254" y="1611227"/>
                        <a:pt x="1641254" y="1611227"/>
                      </a:cubicBezTo>
                      <a:cubicBezTo>
                        <a:pt x="1644232" y="1611227"/>
                        <a:pt x="1647210" y="1608251"/>
                        <a:pt x="1647210" y="1602300"/>
                      </a:cubicBezTo>
                      <a:cubicBezTo>
                        <a:pt x="1659123" y="1518981"/>
                        <a:pt x="1659123" y="1518981"/>
                        <a:pt x="1659123" y="1518981"/>
                      </a:cubicBezTo>
                      <a:cubicBezTo>
                        <a:pt x="1662101" y="1513030"/>
                        <a:pt x="1656145" y="1510054"/>
                        <a:pt x="1653167" y="1510054"/>
                      </a:cubicBezTo>
                      <a:cubicBezTo>
                        <a:pt x="1435763" y="1510054"/>
                        <a:pt x="1435763" y="1510054"/>
                        <a:pt x="1435763" y="1510054"/>
                      </a:cubicBezTo>
                      <a:cubicBezTo>
                        <a:pt x="1429807" y="1510054"/>
                        <a:pt x="1426829" y="1507078"/>
                        <a:pt x="1426829" y="1501127"/>
                      </a:cubicBezTo>
                      <a:cubicBezTo>
                        <a:pt x="1426829" y="1429711"/>
                        <a:pt x="1426829" y="1429711"/>
                        <a:pt x="1426829" y="1429711"/>
                      </a:cubicBezTo>
                      <a:cubicBezTo>
                        <a:pt x="1426829" y="1423759"/>
                        <a:pt x="1429807" y="1423759"/>
                        <a:pt x="1435763" y="1423759"/>
                      </a:cubicBezTo>
                      <a:cubicBezTo>
                        <a:pt x="1668057" y="1423759"/>
                        <a:pt x="1668057" y="1423759"/>
                        <a:pt x="1668057" y="1423759"/>
                      </a:cubicBezTo>
                      <a:cubicBezTo>
                        <a:pt x="1674014" y="1423759"/>
                        <a:pt x="1674014" y="1417808"/>
                        <a:pt x="1674014" y="1414832"/>
                      </a:cubicBezTo>
                      <a:cubicBezTo>
                        <a:pt x="1685926" y="1349368"/>
                        <a:pt x="1685926" y="1349368"/>
                        <a:pt x="1685926" y="1349368"/>
                      </a:cubicBezTo>
                      <a:cubicBezTo>
                        <a:pt x="1685926" y="1337465"/>
                        <a:pt x="1674014" y="1325562"/>
                        <a:pt x="1662101" y="1325562"/>
                      </a:cubicBezTo>
                      <a:cubicBezTo>
                        <a:pt x="581038" y="1325562"/>
                        <a:pt x="581038" y="1325562"/>
                        <a:pt x="581038" y="1325562"/>
                      </a:cubicBezTo>
                      <a:close/>
                      <a:moveTo>
                        <a:pt x="259347" y="1182687"/>
                      </a:moveTo>
                      <a:cubicBezTo>
                        <a:pt x="238517" y="1182687"/>
                        <a:pt x="220663" y="1200531"/>
                        <a:pt x="220663" y="1221350"/>
                      </a:cubicBezTo>
                      <a:cubicBezTo>
                        <a:pt x="220663" y="1245142"/>
                        <a:pt x="238517" y="1260012"/>
                        <a:pt x="259347" y="1260012"/>
                      </a:cubicBezTo>
                      <a:cubicBezTo>
                        <a:pt x="259347" y="1260012"/>
                        <a:pt x="259347" y="1260012"/>
                        <a:pt x="417055" y="1260012"/>
                      </a:cubicBezTo>
                      <a:cubicBezTo>
                        <a:pt x="417055" y="1260012"/>
                        <a:pt x="417055" y="1260012"/>
                        <a:pt x="559886" y="2092747"/>
                      </a:cubicBezTo>
                      <a:cubicBezTo>
                        <a:pt x="565837" y="2110591"/>
                        <a:pt x="580716" y="2122487"/>
                        <a:pt x="598569" y="2122487"/>
                      </a:cubicBezTo>
                      <a:cubicBezTo>
                        <a:pt x="598569" y="2122487"/>
                        <a:pt x="598569" y="2122487"/>
                        <a:pt x="1461505" y="2122487"/>
                      </a:cubicBezTo>
                      <a:cubicBezTo>
                        <a:pt x="1482334" y="2122487"/>
                        <a:pt x="1500188" y="2104643"/>
                        <a:pt x="1500188" y="2083824"/>
                      </a:cubicBezTo>
                      <a:cubicBezTo>
                        <a:pt x="1500188" y="2063006"/>
                        <a:pt x="1482334" y="2045162"/>
                        <a:pt x="1461505" y="2045162"/>
                      </a:cubicBezTo>
                      <a:cubicBezTo>
                        <a:pt x="1461505" y="2045162"/>
                        <a:pt x="1461505" y="2045162"/>
                        <a:pt x="631301" y="2045162"/>
                      </a:cubicBezTo>
                      <a:cubicBezTo>
                        <a:pt x="631301" y="2045162"/>
                        <a:pt x="631301" y="2045162"/>
                        <a:pt x="488471" y="1215402"/>
                      </a:cubicBezTo>
                      <a:cubicBezTo>
                        <a:pt x="485495" y="1197557"/>
                        <a:pt x="467641" y="1182687"/>
                        <a:pt x="449787" y="1182687"/>
                      </a:cubicBezTo>
                      <a:cubicBezTo>
                        <a:pt x="449787" y="1182687"/>
                        <a:pt x="449787" y="1182687"/>
                        <a:pt x="259347" y="1182687"/>
                      </a:cubicBezTo>
                      <a:close/>
                      <a:moveTo>
                        <a:pt x="29766" y="319087"/>
                      </a:moveTo>
                      <a:cubicBezTo>
                        <a:pt x="1875235" y="319087"/>
                        <a:pt x="1875235" y="319087"/>
                        <a:pt x="1875235" y="319087"/>
                      </a:cubicBezTo>
                      <a:cubicBezTo>
                        <a:pt x="1890117" y="319087"/>
                        <a:pt x="1905000" y="333970"/>
                        <a:pt x="1905000" y="348853"/>
                      </a:cubicBezTo>
                      <a:cubicBezTo>
                        <a:pt x="1905000" y="3265884"/>
                        <a:pt x="1905000" y="3265884"/>
                        <a:pt x="1905000" y="3265884"/>
                      </a:cubicBezTo>
                      <a:cubicBezTo>
                        <a:pt x="1905000" y="3283744"/>
                        <a:pt x="1890117" y="3295650"/>
                        <a:pt x="1875235" y="3295650"/>
                      </a:cubicBezTo>
                      <a:cubicBezTo>
                        <a:pt x="29766" y="3295650"/>
                        <a:pt x="29766" y="3295650"/>
                        <a:pt x="29766" y="3295650"/>
                      </a:cubicBezTo>
                      <a:cubicBezTo>
                        <a:pt x="11906" y="3295650"/>
                        <a:pt x="0" y="3283744"/>
                        <a:pt x="0" y="3265884"/>
                      </a:cubicBezTo>
                      <a:cubicBezTo>
                        <a:pt x="0" y="348853"/>
                        <a:pt x="0" y="348853"/>
                        <a:pt x="0" y="348853"/>
                      </a:cubicBezTo>
                      <a:cubicBezTo>
                        <a:pt x="0" y="333970"/>
                        <a:pt x="11906" y="319087"/>
                        <a:pt x="29766" y="319087"/>
                      </a:cubicBezTo>
                      <a:close/>
                      <a:moveTo>
                        <a:pt x="581451" y="0"/>
                      </a:moveTo>
                      <a:cubicBezTo>
                        <a:pt x="1337838" y="0"/>
                        <a:pt x="1337838" y="0"/>
                        <a:pt x="1337838" y="0"/>
                      </a:cubicBezTo>
                      <a:cubicBezTo>
                        <a:pt x="1373572" y="0"/>
                        <a:pt x="1403351" y="29986"/>
                        <a:pt x="1403351" y="65970"/>
                      </a:cubicBezTo>
                      <a:cubicBezTo>
                        <a:pt x="1403351" y="104952"/>
                        <a:pt x="1373572" y="134938"/>
                        <a:pt x="1337838" y="134938"/>
                      </a:cubicBezTo>
                      <a:cubicBezTo>
                        <a:pt x="581451" y="134938"/>
                        <a:pt x="581451" y="134938"/>
                        <a:pt x="581451" y="134938"/>
                      </a:cubicBezTo>
                      <a:cubicBezTo>
                        <a:pt x="542739" y="134938"/>
                        <a:pt x="515938" y="104952"/>
                        <a:pt x="515938" y="65970"/>
                      </a:cubicBezTo>
                      <a:cubicBezTo>
                        <a:pt x="515938" y="29986"/>
                        <a:pt x="542739" y="0"/>
                        <a:pt x="581451" y="0"/>
                      </a:cubicBezTo>
                      <a:close/>
                    </a:path>
                  </a:pathLst>
                </a:custGeom>
                <a:solidFill>
                  <a:srgbClr val="98A6CC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bg-BG" dirty="0">
                    <a:latin typeface="PT Sans Caption" panose="020B0603020203020204" pitchFamily="34" charset="0"/>
                    <a:sym typeface="PT Sans Caption" panose="020B0603020203020204" pitchFamily="34" charset="0"/>
                  </a:endParaRPr>
                </a:p>
              </p:txBody>
            </p:sp>
          </p:grpSp>
        </p:grpSp>
      </p:grpSp>
      <p:grpSp>
        <p:nvGrpSpPr>
          <p:cNvPr id="42" name="Group 41"/>
          <p:cNvGrpSpPr>
            <a:grpSpLocks noChangeAspect="1"/>
          </p:cNvGrpSpPr>
          <p:nvPr/>
        </p:nvGrpSpPr>
        <p:grpSpPr>
          <a:xfrm>
            <a:off x="2535638" y="4749000"/>
            <a:ext cx="368292" cy="368292"/>
            <a:chOff x="1854516" y="1847850"/>
            <a:chExt cx="269875" cy="269875"/>
          </a:xfrm>
        </p:grpSpPr>
        <p:sp>
          <p:nvSpPr>
            <p:cNvPr id="43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44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4787858" y="4749000"/>
            <a:ext cx="368292" cy="368292"/>
            <a:chOff x="1854516" y="1847850"/>
            <a:chExt cx="269875" cy="269875"/>
          </a:xfrm>
        </p:grpSpPr>
        <p:sp>
          <p:nvSpPr>
            <p:cNvPr id="51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7040078" y="4749000"/>
            <a:ext cx="368292" cy="368292"/>
            <a:chOff x="1854516" y="1847850"/>
            <a:chExt cx="269875" cy="269875"/>
          </a:xfrm>
        </p:grpSpPr>
        <p:sp>
          <p:nvSpPr>
            <p:cNvPr id="54" name="Oval 53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56" name="Group 55"/>
          <p:cNvGrpSpPr>
            <a:grpSpLocks noChangeAspect="1"/>
          </p:cNvGrpSpPr>
          <p:nvPr/>
        </p:nvGrpSpPr>
        <p:grpSpPr>
          <a:xfrm>
            <a:off x="9292298" y="4749000"/>
            <a:ext cx="368292" cy="368292"/>
            <a:chOff x="1854516" y="1847850"/>
            <a:chExt cx="269875" cy="269875"/>
          </a:xfrm>
        </p:grpSpPr>
        <p:sp>
          <p:nvSpPr>
            <p:cNvPr id="57" name="Oval 56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solidFill>
                  <a:schemeClr val="bg1"/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sp>
        <p:nvSpPr>
          <p:cNvPr id="59" name="Oval 20"/>
          <p:cNvSpPr>
            <a:spLocks noChangeAspect="1" noChangeArrowheads="1"/>
          </p:cNvSpPr>
          <p:nvPr/>
        </p:nvSpPr>
        <p:spPr bwMode="auto">
          <a:xfrm>
            <a:off x="630000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1</a:t>
            </a:r>
          </a:p>
        </p:txBody>
      </p:sp>
      <p:sp>
        <p:nvSpPr>
          <p:cNvPr id="60" name="Oval 20"/>
          <p:cNvSpPr>
            <a:spLocks noChangeAspect="1" noChangeArrowheads="1"/>
          </p:cNvSpPr>
          <p:nvPr/>
        </p:nvSpPr>
        <p:spPr bwMode="auto">
          <a:xfrm>
            <a:off x="2882219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2</a:t>
            </a:r>
          </a:p>
        </p:txBody>
      </p:sp>
      <p:sp>
        <p:nvSpPr>
          <p:cNvPr id="61" name="Oval 20"/>
          <p:cNvSpPr>
            <a:spLocks noChangeAspect="1" noChangeArrowheads="1"/>
          </p:cNvSpPr>
          <p:nvPr/>
        </p:nvSpPr>
        <p:spPr bwMode="auto">
          <a:xfrm>
            <a:off x="5134438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3</a:t>
            </a:r>
          </a:p>
        </p:txBody>
      </p:sp>
      <p:sp>
        <p:nvSpPr>
          <p:cNvPr id="62" name="Oval 20"/>
          <p:cNvSpPr>
            <a:spLocks noChangeAspect="1" noChangeArrowheads="1"/>
          </p:cNvSpPr>
          <p:nvPr/>
        </p:nvSpPr>
        <p:spPr bwMode="auto">
          <a:xfrm>
            <a:off x="7386657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4</a:t>
            </a:r>
          </a:p>
        </p:txBody>
      </p:sp>
      <p:sp>
        <p:nvSpPr>
          <p:cNvPr id="63" name="Oval 20"/>
          <p:cNvSpPr>
            <a:spLocks noChangeAspect="1" noChangeArrowheads="1"/>
          </p:cNvSpPr>
          <p:nvPr/>
        </p:nvSpPr>
        <p:spPr bwMode="auto">
          <a:xfrm>
            <a:off x="9638877" y="5304545"/>
            <a:ext cx="245528" cy="24552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5</a:t>
            </a:r>
          </a:p>
        </p:txBody>
      </p:sp>
      <p:sp>
        <p:nvSpPr>
          <p:cNvPr id="66" name="Freeform 65"/>
          <p:cNvSpPr/>
          <p:nvPr/>
        </p:nvSpPr>
        <p:spPr>
          <a:xfrm>
            <a:off x="3116472" y="2584238"/>
            <a:ext cx="4499590" cy="1717599"/>
          </a:xfrm>
          <a:custGeom>
            <a:avLst/>
            <a:gdLst>
              <a:gd name="connsiteX0" fmla="*/ 0 w 4600575"/>
              <a:gd name="connsiteY0" fmla="*/ 866775 h 1962150"/>
              <a:gd name="connsiteX1" fmla="*/ 571500 w 4600575"/>
              <a:gd name="connsiteY1" fmla="*/ 514350 h 1962150"/>
              <a:gd name="connsiteX2" fmla="*/ 1838325 w 4600575"/>
              <a:gd name="connsiteY2" fmla="*/ 1238250 h 1962150"/>
              <a:gd name="connsiteX3" fmla="*/ 4038600 w 4600575"/>
              <a:gd name="connsiteY3" fmla="*/ 0 h 1962150"/>
              <a:gd name="connsiteX4" fmla="*/ 4600575 w 4600575"/>
              <a:gd name="connsiteY4" fmla="*/ 371475 h 1962150"/>
              <a:gd name="connsiteX5" fmla="*/ 1847850 w 4600575"/>
              <a:gd name="connsiteY5" fmla="*/ 1962150 h 1962150"/>
              <a:gd name="connsiteX6" fmla="*/ 0 w 4600575"/>
              <a:gd name="connsiteY6" fmla="*/ 866775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0575" h="1962150">
                <a:moveTo>
                  <a:pt x="0" y="866775"/>
                </a:moveTo>
                <a:lnTo>
                  <a:pt x="571500" y="514350"/>
                </a:lnTo>
                <a:lnTo>
                  <a:pt x="1838325" y="1238250"/>
                </a:lnTo>
                <a:lnTo>
                  <a:pt x="4038600" y="0"/>
                </a:lnTo>
                <a:lnTo>
                  <a:pt x="4600575" y="371475"/>
                </a:lnTo>
                <a:lnTo>
                  <a:pt x="1847850" y="1962150"/>
                </a:lnTo>
                <a:lnTo>
                  <a:pt x="0" y="866775"/>
                </a:lnTo>
                <a:close/>
              </a:path>
            </a:pathLst>
          </a:custGeom>
          <a:solidFill>
            <a:srgbClr val="F2EB3B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sz="1200" dirty="0">
              <a:solidFill>
                <a:srgbClr val="FFFFFF"/>
              </a:solidFill>
              <a:latin typeface="PT Sans Caption" panose="020B0603020203020204" pitchFamily="34" charset="0"/>
              <a:sym typeface="PT Sans Caption" panose="020B0603020203020204" pitchFamily="34" charset="0"/>
            </a:endParaRPr>
          </a:p>
        </p:txBody>
      </p:sp>
      <p:grpSp>
        <p:nvGrpSpPr>
          <p:cNvPr id="163" name="Group 162"/>
          <p:cNvGrpSpPr>
            <a:grpSpLocks noChangeAspect="1"/>
          </p:cNvGrpSpPr>
          <p:nvPr/>
        </p:nvGrpSpPr>
        <p:grpSpPr>
          <a:xfrm>
            <a:off x="3629052" y="2442495"/>
            <a:ext cx="457200" cy="457623"/>
            <a:chOff x="5273799" y="2606040"/>
            <a:chExt cx="1644396" cy="1645920"/>
          </a:xfrm>
        </p:grpSpPr>
        <p:sp>
          <p:nvSpPr>
            <p:cNvPr id="164" name="AutoShape 13">
              <a:extLst>
                <a:ext uri="{FF2B5EF4-FFF2-40B4-BE49-F238E27FC236}">
                  <a16:creationId xmlns:a16="http://schemas.microsoft.com/office/drawing/2014/main" xmlns="" id="{A6B62B7F-B1B2-4803-95E8-2DB8A96A0D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166" name="Freeform 15">
                <a:extLst>
                  <a:ext uri="{FF2B5EF4-FFF2-40B4-BE49-F238E27FC236}">
                    <a16:creationId xmlns:a16="http://schemas.microsoft.com/office/drawing/2014/main" xmlns="" id="{C49F8F87-804D-4785-B3FF-71E118F98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67" name="Freeform 16">
                <a:extLst>
                  <a:ext uri="{FF2B5EF4-FFF2-40B4-BE49-F238E27FC236}">
                    <a16:creationId xmlns:a16="http://schemas.microsoft.com/office/drawing/2014/main" xmlns="" id="{D5D864F2-D4FC-4684-89BF-B212682AA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69" name="TextBox 68"/>
          <p:cNvSpPr txBox="1"/>
          <p:nvPr/>
        </p:nvSpPr>
        <p:spPr>
          <a:xfrm>
            <a:off x="4249436" y="2438523"/>
            <a:ext cx="654025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Логистика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030144" y="2438523"/>
            <a:ext cx="541815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Магазин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846402" y="2111105"/>
            <a:ext cx="371897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Касса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353932" y="1752577"/>
            <a:ext cx="828753" cy="1538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Потребитель</a:t>
            </a:r>
          </a:p>
        </p:txBody>
      </p:sp>
      <p:grpSp>
        <p:nvGrpSpPr>
          <p:cNvPr id="168" name="bcgIcons_LargeTruck">
            <a:extLst>
              <a:ext uri="{FF2B5EF4-FFF2-40B4-BE49-F238E27FC236}">
                <a16:creationId xmlns:a16="http://schemas.microsoft.com/office/drawing/2014/main" xmlns="" id="{BF4B8ACE-C65D-4D32-8A49-32EA8B16FE2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47849" y="2872728"/>
            <a:ext cx="457200" cy="457623"/>
            <a:chOff x="1682" y="0"/>
            <a:chExt cx="4316" cy="4320"/>
          </a:xfrm>
        </p:grpSpPr>
        <p:sp>
          <p:nvSpPr>
            <p:cNvPr id="169" name="AutoShape 19">
              <a:extLst>
                <a:ext uri="{FF2B5EF4-FFF2-40B4-BE49-F238E27FC236}">
                  <a16:creationId xmlns:a16="http://schemas.microsoft.com/office/drawing/2014/main" xmlns="" id="{87A709C4-C460-42AC-8D6F-850C534249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0" name="Freeform 21">
              <a:extLst>
                <a:ext uri="{FF2B5EF4-FFF2-40B4-BE49-F238E27FC236}">
                  <a16:creationId xmlns:a16="http://schemas.microsoft.com/office/drawing/2014/main" xmlns="" id="{5B97506B-F2E5-432C-AC70-CC2D99DA3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2" y="1588"/>
              <a:ext cx="3562" cy="1601"/>
            </a:xfrm>
            <a:custGeom>
              <a:avLst/>
              <a:gdLst>
                <a:gd name="T0" fmla="*/ 1902 w 1902"/>
                <a:gd name="T1" fmla="*/ 325 h 854"/>
                <a:gd name="T2" fmla="*/ 1902 w 1902"/>
                <a:gd name="T3" fmla="*/ 645 h 854"/>
                <a:gd name="T4" fmla="*/ 1879 w 1902"/>
                <a:gd name="T5" fmla="*/ 667 h 854"/>
                <a:gd name="T6" fmla="*/ 1741 w 1902"/>
                <a:gd name="T7" fmla="*/ 667 h 854"/>
                <a:gd name="T8" fmla="*/ 1723 w 1902"/>
                <a:gd name="T9" fmla="*/ 623 h 854"/>
                <a:gd name="T10" fmla="*/ 1858 w 1902"/>
                <a:gd name="T11" fmla="*/ 623 h 854"/>
                <a:gd name="T12" fmla="*/ 1858 w 1902"/>
                <a:gd name="T13" fmla="*/ 338 h 854"/>
                <a:gd name="T14" fmla="*/ 1664 w 1902"/>
                <a:gd name="T15" fmla="*/ 44 h 854"/>
                <a:gd name="T16" fmla="*/ 1325 w 1902"/>
                <a:gd name="T17" fmla="*/ 44 h 854"/>
                <a:gd name="T18" fmla="*/ 1325 w 1902"/>
                <a:gd name="T19" fmla="*/ 623 h 854"/>
                <a:gd name="T20" fmla="*/ 1405 w 1902"/>
                <a:gd name="T21" fmla="*/ 623 h 854"/>
                <a:gd name="T22" fmla="*/ 1387 w 1902"/>
                <a:gd name="T23" fmla="*/ 667 h 854"/>
                <a:gd name="T24" fmla="*/ 1303 w 1902"/>
                <a:gd name="T25" fmla="*/ 667 h 854"/>
                <a:gd name="T26" fmla="*/ 1281 w 1902"/>
                <a:gd name="T27" fmla="*/ 645 h 854"/>
                <a:gd name="T28" fmla="*/ 1281 w 1902"/>
                <a:gd name="T29" fmla="*/ 21 h 854"/>
                <a:gd name="T30" fmla="*/ 1303 w 1902"/>
                <a:gd name="T31" fmla="*/ 0 h 854"/>
                <a:gd name="T32" fmla="*/ 1688 w 1902"/>
                <a:gd name="T33" fmla="*/ 0 h 854"/>
                <a:gd name="T34" fmla="*/ 1902 w 1902"/>
                <a:gd name="T35" fmla="*/ 325 h 854"/>
                <a:gd name="T36" fmla="*/ 1705 w 1902"/>
                <a:gd name="T37" fmla="*/ 713 h 854"/>
                <a:gd name="T38" fmla="*/ 1564 w 1902"/>
                <a:gd name="T39" fmla="*/ 572 h 854"/>
                <a:gd name="T40" fmla="*/ 1423 w 1902"/>
                <a:gd name="T41" fmla="*/ 713 h 854"/>
                <a:gd name="T42" fmla="*/ 1569 w 1902"/>
                <a:gd name="T43" fmla="*/ 854 h 854"/>
                <a:gd name="T44" fmla="*/ 1705 w 1902"/>
                <a:gd name="T45" fmla="*/ 713 h 854"/>
                <a:gd name="T46" fmla="*/ 1657 w 1902"/>
                <a:gd name="T47" fmla="*/ 713 h 854"/>
                <a:gd name="T48" fmla="*/ 1564 w 1902"/>
                <a:gd name="T49" fmla="*/ 806 h 854"/>
                <a:gd name="T50" fmla="*/ 1472 w 1902"/>
                <a:gd name="T51" fmla="*/ 713 h 854"/>
                <a:gd name="T52" fmla="*/ 1564 w 1902"/>
                <a:gd name="T53" fmla="*/ 620 h 854"/>
                <a:gd name="T54" fmla="*/ 1657 w 1902"/>
                <a:gd name="T55" fmla="*/ 713 h 854"/>
                <a:gd name="T56" fmla="*/ 403 w 1902"/>
                <a:gd name="T57" fmla="*/ 713 h 854"/>
                <a:gd name="T58" fmla="*/ 262 w 1902"/>
                <a:gd name="T59" fmla="*/ 572 h 854"/>
                <a:gd name="T60" fmla="*/ 121 w 1902"/>
                <a:gd name="T61" fmla="*/ 713 h 854"/>
                <a:gd name="T62" fmla="*/ 267 w 1902"/>
                <a:gd name="T63" fmla="*/ 854 h 854"/>
                <a:gd name="T64" fmla="*/ 403 w 1902"/>
                <a:gd name="T65" fmla="*/ 713 h 854"/>
                <a:gd name="T66" fmla="*/ 354 w 1902"/>
                <a:gd name="T67" fmla="*/ 713 h 854"/>
                <a:gd name="T68" fmla="*/ 262 w 1902"/>
                <a:gd name="T69" fmla="*/ 806 h 854"/>
                <a:gd name="T70" fmla="*/ 169 w 1902"/>
                <a:gd name="T71" fmla="*/ 713 h 854"/>
                <a:gd name="T72" fmla="*/ 262 w 1902"/>
                <a:gd name="T73" fmla="*/ 620 h 854"/>
                <a:gd name="T74" fmla="*/ 354 w 1902"/>
                <a:gd name="T75" fmla="*/ 713 h 854"/>
                <a:gd name="T76" fmla="*/ 1227 w 1902"/>
                <a:gd name="T77" fmla="*/ 468 h 854"/>
                <a:gd name="T78" fmla="*/ 21 w 1902"/>
                <a:gd name="T79" fmla="*/ 468 h 854"/>
                <a:gd name="T80" fmla="*/ 0 w 1902"/>
                <a:gd name="T81" fmla="*/ 489 h 854"/>
                <a:gd name="T82" fmla="*/ 0 w 1902"/>
                <a:gd name="T83" fmla="*/ 646 h 854"/>
                <a:gd name="T84" fmla="*/ 21 w 1902"/>
                <a:gd name="T85" fmla="*/ 667 h 854"/>
                <a:gd name="T86" fmla="*/ 83 w 1902"/>
                <a:gd name="T87" fmla="*/ 667 h 854"/>
                <a:gd name="T88" fmla="*/ 262 w 1902"/>
                <a:gd name="T89" fmla="*/ 528 h 854"/>
                <a:gd name="T90" fmla="*/ 441 w 1902"/>
                <a:gd name="T91" fmla="*/ 667 h 854"/>
                <a:gd name="T92" fmla="*/ 1227 w 1902"/>
                <a:gd name="T93" fmla="*/ 667 h 854"/>
                <a:gd name="T94" fmla="*/ 1231 w 1902"/>
                <a:gd name="T95" fmla="*/ 667 h 854"/>
                <a:gd name="T96" fmla="*/ 1231 w 1902"/>
                <a:gd name="T97" fmla="*/ 468 h 854"/>
                <a:gd name="T98" fmla="*/ 1227 w 1902"/>
                <a:gd name="T99" fmla="*/ 468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02" h="854">
                  <a:moveTo>
                    <a:pt x="1902" y="325"/>
                  </a:moveTo>
                  <a:cubicBezTo>
                    <a:pt x="1902" y="645"/>
                    <a:pt x="1902" y="645"/>
                    <a:pt x="1902" y="645"/>
                  </a:cubicBezTo>
                  <a:cubicBezTo>
                    <a:pt x="1902" y="657"/>
                    <a:pt x="1892" y="667"/>
                    <a:pt x="1879" y="667"/>
                  </a:cubicBezTo>
                  <a:cubicBezTo>
                    <a:pt x="1741" y="667"/>
                    <a:pt x="1741" y="667"/>
                    <a:pt x="1741" y="667"/>
                  </a:cubicBezTo>
                  <a:cubicBezTo>
                    <a:pt x="1737" y="651"/>
                    <a:pt x="1731" y="637"/>
                    <a:pt x="1723" y="623"/>
                  </a:cubicBezTo>
                  <a:cubicBezTo>
                    <a:pt x="1858" y="623"/>
                    <a:pt x="1858" y="623"/>
                    <a:pt x="1858" y="623"/>
                  </a:cubicBezTo>
                  <a:cubicBezTo>
                    <a:pt x="1858" y="338"/>
                    <a:pt x="1858" y="338"/>
                    <a:pt x="1858" y="338"/>
                  </a:cubicBezTo>
                  <a:cubicBezTo>
                    <a:pt x="1664" y="44"/>
                    <a:pt x="1664" y="44"/>
                    <a:pt x="1664" y="44"/>
                  </a:cubicBezTo>
                  <a:cubicBezTo>
                    <a:pt x="1325" y="44"/>
                    <a:pt x="1325" y="44"/>
                    <a:pt x="1325" y="44"/>
                  </a:cubicBezTo>
                  <a:cubicBezTo>
                    <a:pt x="1325" y="623"/>
                    <a:pt x="1325" y="623"/>
                    <a:pt x="1325" y="623"/>
                  </a:cubicBezTo>
                  <a:cubicBezTo>
                    <a:pt x="1405" y="623"/>
                    <a:pt x="1405" y="623"/>
                    <a:pt x="1405" y="623"/>
                  </a:cubicBezTo>
                  <a:cubicBezTo>
                    <a:pt x="1398" y="637"/>
                    <a:pt x="1391" y="651"/>
                    <a:pt x="1387" y="667"/>
                  </a:cubicBezTo>
                  <a:cubicBezTo>
                    <a:pt x="1303" y="667"/>
                    <a:pt x="1303" y="667"/>
                    <a:pt x="1303" y="667"/>
                  </a:cubicBezTo>
                  <a:cubicBezTo>
                    <a:pt x="1291" y="667"/>
                    <a:pt x="1281" y="657"/>
                    <a:pt x="1281" y="645"/>
                  </a:cubicBezTo>
                  <a:cubicBezTo>
                    <a:pt x="1281" y="21"/>
                    <a:pt x="1281" y="21"/>
                    <a:pt x="1281" y="21"/>
                  </a:cubicBezTo>
                  <a:cubicBezTo>
                    <a:pt x="1281" y="9"/>
                    <a:pt x="1291" y="0"/>
                    <a:pt x="1303" y="0"/>
                  </a:cubicBezTo>
                  <a:cubicBezTo>
                    <a:pt x="1688" y="0"/>
                    <a:pt x="1688" y="0"/>
                    <a:pt x="1688" y="0"/>
                  </a:cubicBezTo>
                  <a:lnTo>
                    <a:pt x="1902" y="325"/>
                  </a:lnTo>
                  <a:close/>
                  <a:moveTo>
                    <a:pt x="1705" y="713"/>
                  </a:moveTo>
                  <a:cubicBezTo>
                    <a:pt x="1705" y="635"/>
                    <a:pt x="1642" y="572"/>
                    <a:pt x="1564" y="572"/>
                  </a:cubicBezTo>
                  <a:cubicBezTo>
                    <a:pt x="1486" y="572"/>
                    <a:pt x="1423" y="635"/>
                    <a:pt x="1423" y="713"/>
                  </a:cubicBezTo>
                  <a:cubicBezTo>
                    <a:pt x="1423" y="791"/>
                    <a:pt x="1491" y="854"/>
                    <a:pt x="1569" y="854"/>
                  </a:cubicBezTo>
                  <a:cubicBezTo>
                    <a:pt x="1647" y="854"/>
                    <a:pt x="1705" y="791"/>
                    <a:pt x="1705" y="713"/>
                  </a:cubicBezTo>
                  <a:close/>
                  <a:moveTo>
                    <a:pt x="1657" y="713"/>
                  </a:moveTo>
                  <a:cubicBezTo>
                    <a:pt x="1657" y="764"/>
                    <a:pt x="1615" y="806"/>
                    <a:pt x="1564" y="806"/>
                  </a:cubicBezTo>
                  <a:cubicBezTo>
                    <a:pt x="1513" y="806"/>
                    <a:pt x="1472" y="764"/>
                    <a:pt x="1472" y="713"/>
                  </a:cubicBezTo>
                  <a:cubicBezTo>
                    <a:pt x="1472" y="662"/>
                    <a:pt x="1513" y="620"/>
                    <a:pt x="1564" y="620"/>
                  </a:cubicBezTo>
                  <a:cubicBezTo>
                    <a:pt x="1615" y="620"/>
                    <a:pt x="1657" y="662"/>
                    <a:pt x="1657" y="713"/>
                  </a:cubicBezTo>
                  <a:close/>
                  <a:moveTo>
                    <a:pt x="403" y="713"/>
                  </a:moveTo>
                  <a:cubicBezTo>
                    <a:pt x="403" y="635"/>
                    <a:pt x="340" y="572"/>
                    <a:pt x="262" y="572"/>
                  </a:cubicBezTo>
                  <a:cubicBezTo>
                    <a:pt x="184" y="572"/>
                    <a:pt x="121" y="635"/>
                    <a:pt x="121" y="713"/>
                  </a:cubicBezTo>
                  <a:cubicBezTo>
                    <a:pt x="121" y="791"/>
                    <a:pt x="189" y="854"/>
                    <a:pt x="267" y="854"/>
                  </a:cubicBezTo>
                  <a:cubicBezTo>
                    <a:pt x="344" y="854"/>
                    <a:pt x="403" y="791"/>
                    <a:pt x="403" y="713"/>
                  </a:cubicBezTo>
                  <a:close/>
                  <a:moveTo>
                    <a:pt x="354" y="713"/>
                  </a:moveTo>
                  <a:cubicBezTo>
                    <a:pt x="354" y="764"/>
                    <a:pt x="313" y="806"/>
                    <a:pt x="262" y="806"/>
                  </a:cubicBezTo>
                  <a:cubicBezTo>
                    <a:pt x="211" y="806"/>
                    <a:pt x="169" y="764"/>
                    <a:pt x="169" y="713"/>
                  </a:cubicBezTo>
                  <a:cubicBezTo>
                    <a:pt x="169" y="662"/>
                    <a:pt x="211" y="620"/>
                    <a:pt x="262" y="620"/>
                  </a:cubicBezTo>
                  <a:cubicBezTo>
                    <a:pt x="313" y="620"/>
                    <a:pt x="354" y="662"/>
                    <a:pt x="354" y="713"/>
                  </a:cubicBezTo>
                  <a:close/>
                  <a:moveTo>
                    <a:pt x="1227" y="468"/>
                  </a:moveTo>
                  <a:cubicBezTo>
                    <a:pt x="21" y="468"/>
                    <a:pt x="21" y="468"/>
                    <a:pt x="21" y="468"/>
                  </a:cubicBezTo>
                  <a:cubicBezTo>
                    <a:pt x="9" y="468"/>
                    <a:pt x="0" y="477"/>
                    <a:pt x="0" y="489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8"/>
                    <a:pt x="9" y="667"/>
                    <a:pt x="21" y="667"/>
                  </a:cubicBezTo>
                  <a:cubicBezTo>
                    <a:pt x="83" y="667"/>
                    <a:pt x="83" y="667"/>
                    <a:pt x="83" y="667"/>
                  </a:cubicBezTo>
                  <a:cubicBezTo>
                    <a:pt x="103" y="587"/>
                    <a:pt x="176" y="528"/>
                    <a:pt x="262" y="528"/>
                  </a:cubicBezTo>
                  <a:cubicBezTo>
                    <a:pt x="348" y="528"/>
                    <a:pt x="421" y="587"/>
                    <a:pt x="441" y="667"/>
                  </a:cubicBezTo>
                  <a:cubicBezTo>
                    <a:pt x="1227" y="667"/>
                    <a:pt x="1227" y="667"/>
                    <a:pt x="1227" y="667"/>
                  </a:cubicBezTo>
                  <a:cubicBezTo>
                    <a:pt x="1228" y="667"/>
                    <a:pt x="1230" y="667"/>
                    <a:pt x="1231" y="667"/>
                  </a:cubicBezTo>
                  <a:cubicBezTo>
                    <a:pt x="1231" y="468"/>
                    <a:pt x="1231" y="468"/>
                    <a:pt x="1231" y="468"/>
                  </a:cubicBezTo>
                  <a:cubicBezTo>
                    <a:pt x="1230" y="468"/>
                    <a:pt x="1228" y="468"/>
                    <a:pt x="1227" y="468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1" name="Freeform 22">
              <a:extLst>
                <a:ext uri="{FF2B5EF4-FFF2-40B4-BE49-F238E27FC236}">
                  <a16:creationId xmlns:a16="http://schemas.microsoft.com/office/drawing/2014/main" xmlns="" id="{B0559BF6-D87B-4C20-B897-47FA7C3247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3" y="1144"/>
              <a:ext cx="3501" cy="1878"/>
            </a:xfrm>
            <a:custGeom>
              <a:avLst/>
              <a:gdLst>
                <a:gd name="T0" fmla="*/ 1851 w 1869"/>
                <a:gd name="T1" fmla="*/ 535 h 1002"/>
                <a:gd name="T2" fmla="*/ 1534 w 1869"/>
                <a:gd name="T3" fmla="*/ 535 h 1002"/>
                <a:gd name="T4" fmla="*/ 1524 w 1869"/>
                <a:gd name="T5" fmla="*/ 526 h 1002"/>
                <a:gd name="T6" fmla="*/ 1524 w 1869"/>
                <a:gd name="T7" fmla="*/ 319 h 1002"/>
                <a:gd name="T8" fmla="*/ 1534 w 1869"/>
                <a:gd name="T9" fmla="*/ 310 h 1002"/>
                <a:gd name="T10" fmla="*/ 1737 w 1869"/>
                <a:gd name="T11" fmla="*/ 310 h 1002"/>
                <a:gd name="T12" fmla="*/ 1757 w 1869"/>
                <a:gd name="T13" fmla="*/ 328 h 1002"/>
                <a:gd name="T14" fmla="*/ 1868 w 1869"/>
                <a:gd name="T15" fmla="*/ 516 h 1002"/>
                <a:gd name="T16" fmla="*/ 1869 w 1869"/>
                <a:gd name="T17" fmla="*/ 521 h 1002"/>
                <a:gd name="T18" fmla="*/ 1851 w 1869"/>
                <a:gd name="T19" fmla="*/ 535 h 1002"/>
                <a:gd name="T20" fmla="*/ 368 w 1869"/>
                <a:gd name="T21" fmla="*/ 898 h 1002"/>
                <a:gd name="T22" fmla="*/ 316 w 1869"/>
                <a:gd name="T23" fmla="*/ 950 h 1002"/>
                <a:gd name="T24" fmla="*/ 368 w 1869"/>
                <a:gd name="T25" fmla="*/ 1002 h 1002"/>
                <a:gd name="T26" fmla="*/ 420 w 1869"/>
                <a:gd name="T27" fmla="*/ 950 h 1002"/>
                <a:gd name="T28" fmla="*/ 368 w 1869"/>
                <a:gd name="T29" fmla="*/ 898 h 1002"/>
                <a:gd name="T30" fmla="*/ 1670 w 1869"/>
                <a:gd name="T31" fmla="*/ 898 h 1002"/>
                <a:gd name="T32" fmla="*/ 1618 w 1869"/>
                <a:gd name="T33" fmla="*/ 950 h 1002"/>
                <a:gd name="T34" fmla="*/ 1670 w 1869"/>
                <a:gd name="T35" fmla="*/ 1002 h 1002"/>
                <a:gd name="T36" fmla="*/ 1722 w 1869"/>
                <a:gd name="T37" fmla="*/ 950 h 1002"/>
                <a:gd name="T38" fmla="*/ 1670 w 1869"/>
                <a:gd name="T39" fmla="*/ 898 h 1002"/>
                <a:gd name="T40" fmla="*/ 1340 w 1869"/>
                <a:gd name="T41" fmla="*/ 22 h 1002"/>
                <a:gd name="T42" fmla="*/ 1318 w 1869"/>
                <a:gd name="T43" fmla="*/ 0 h 1002"/>
                <a:gd name="T44" fmla="*/ 22 w 1869"/>
                <a:gd name="T45" fmla="*/ 0 h 1002"/>
                <a:gd name="T46" fmla="*/ 0 w 1869"/>
                <a:gd name="T47" fmla="*/ 22 h 1002"/>
                <a:gd name="T48" fmla="*/ 0 w 1869"/>
                <a:gd name="T49" fmla="*/ 639 h 1002"/>
                <a:gd name="T50" fmla="*/ 22 w 1869"/>
                <a:gd name="T51" fmla="*/ 661 h 1002"/>
                <a:gd name="T52" fmla="*/ 1340 w 1869"/>
                <a:gd name="T53" fmla="*/ 661 h 1002"/>
                <a:gd name="T54" fmla="*/ 1340 w 1869"/>
                <a:gd name="T55" fmla="*/ 22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69" h="1002">
                  <a:moveTo>
                    <a:pt x="1851" y="535"/>
                  </a:moveTo>
                  <a:cubicBezTo>
                    <a:pt x="1534" y="535"/>
                    <a:pt x="1534" y="535"/>
                    <a:pt x="1534" y="535"/>
                  </a:cubicBezTo>
                  <a:cubicBezTo>
                    <a:pt x="1529" y="535"/>
                    <a:pt x="1524" y="531"/>
                    <a:pt x="1524" y="526"/>
                  </a:cubicBezTo>
                  <a:cubicBezTo>
                    <a:pt x="1524" y="319"/>
                    <a:pt x="1524" y="319"/>
                    <a:pt x="1524" y="319"/>
                  </a:cubicBezTo>
                  <a:cubicBezTo>
                    <a:pt x="1524" y="314"/>
                    <a:pt x="1529" y="310"/>
                    <a:pt x="1534" y="310"/>
                  </a:cubicBezTo>
                  <a:cubicBezTo>
                    <a:pt x="1737" y="310"/>
                    <a:pt x="1737" y="310"/>
                    <a:pt x="1737" y="310"/>
                  </a:cubicBezTo>
                  <a:cubicBezTo>
                    <a:pt x="1747" y="310"/>
                    <a:pt x="1751" y="318"/>
                    <a:pt x="1757" y="328"/>
                  </a:cubicBezTo>
                  <a:cubicBezTo>
                    <a:pt x="1868" y="516"/>
                    <a:pt x="1868" y="516"/>
                    <a:pt x="1868" y="516"/>
                  </a:cubicBezTo>
                  <a:cubicBezTo>
                    <a:pt x="1869" y="517"/>
                    <a:pt x="1869" y="519"/>
                    <a:pt x="1869" y="521"/>
                  </a:cubicBezTo>
                  <a:cubicBezTo>
                    <a:pt x="1867" y="529"/>
                    <a:pt x="1860" y="535"/>
                    <a:pt x="1851" y="535"/>
                  </a:cubicBezTo>
                  <a:close/>
                  <a:moveTo>
                    <a:pt x="368" y="898"/>
                  </a:moveTo>
                  <a:cubicBezTo>
                    <a:pt x="339" y="898"/>
                    <a:pt x="316" y="921"/>
                    <a:pt x="316" y="950"/>
                  </a:cubicBezTo>
                  <a:cubicBezTo>
                    <a:pt x="316" y="979"/>
                    <a:pt x="339" y="1002"/>
                    <a:pt x="368" y="1002"/>
                  </a:cubicBezTo>
                  <a:cubicBezTo>
                    <a:pt x="397" y="1002"/>
                    <a:pt x="420" y="979"/>
                    <a:pt x="420" y="950"/>
                  </a:cubicBezTo>
                  <a:cubicBezTo>
                    <a:pt x="420" y="921"/>
                    <a:pt x="397" y="898"/>
                    <a:pt x="368" y="898"/>
                  </a:cubicBezTo>
                  <a:close/>
                  <a:moveTo>
                    <a:pt x="1670" y="898"/>
                  </a:moveTo>
                  <a:cubicBezTo>
                    <a:pt x="1641" y="898"/>
                    <a:pt x="1618" y="921"/>
                    <a:pt x="1618" y="950"/>
                  </a:cubicBezTo>
                  <a:cubicBezTo>
                    <a:pt x="1618" y="979"/>
                    <a:pt x="1641" y="1002"/>
                    <a:pt x="1670" y="1002"/>
                  </a:cubicBezTo>
                  <a:cubicBezTo>
                    <a:pt x="1699" y="1002"/>
                    <a:pt x="1722" y="979"/>
                    <a:pt x="1722" y="950"/>
                  </a:cubicBezTo>
                  <a:cubicBezTo>
                    <a:pt x="1722" y="921"/>
                    <a:pt x="1699" y="898"/>
                    <a:pt x="1670" y="898"/>
                  </a:cubicBezTo>
                  <a:close/>
                  <a:moveTo>
                    <a:pt x="1340" y="22"/>
                  </a:moveTo>
                  <a:cubicBezTo>
                    <a:pt x="1340" y="10"/>
                    <a:pt x="1330" y="0"/>
                    <a:pt x="131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639"/>
                    <a:pt x="0" y="639"/>
                    <a:pt x="0" y="639"/>
                  </a:cubicBezTo>
                  <a:cubicBezTo>
                    <a:pt x="0" y="651"/>
                    <a:pt x="10" y="661"/>
                    <a:pt x="22" y="661"/>
                  </a:cubicBezTo>
                  <a:cubicBezTo>
                    <a:pt x="1340" y="661"/>
                    <a:pt x="1340" y="661"/>
                    <a:pt x="1340" y="661"/>
                  </a:cubicBezTo>
                  <a:lnTo>
                    <a:pt x="1340" y="22"/>
                  </a:ln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172" name="Group 171"/>
          <p:cNvGrpSpPr>
            <a:grpSpLocks noChangeAspect="1"/>
          </p:cNvGrpSpPr>
          <p:nvPr/>
        </p:nvGrpSpPr>
        <p:grpSpPr>
          <a:xfrm>
            <a:off x="5079148" y="2856052"/>
            <a:ext cx="457200" cy="457623"/>
            <a:chOff x="5273799" y="2606040"/>
            <a:chExt cx="1644396" cy="1645920"/>
          </a:xfrm>
        </p:grpSpPr>
        <p:sp>
          <p:nvSpPr>
            <p:cNvPr id="173" name="AutoShape 28">
              <a:extLst>
                <a:ext uri="{FF2B5EF4-FFF2-40B4-BE49-F238E27FC236}">
                  <a16:creationId xmlns:a16="http://schemas.microsoft.com/office/drawing/2014/main" xmlns="" id="{7563FC07-0F95-4975-8A35-266F618BA3E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74" name="Group 173"/>
            <p:cNvGrpSpPr/>
            <p:nvPr/>
          </p:nvGrpSpPr>
          <p:grpSpPr>
            <a:xfrm>
              <a:off x="5537070" y="2899029"/>
              <a:ext cx="1119378" cy="1182243"/>
              <a:chOff x="5537070" y="2899029"/>
              <a:chExt cx="1119378" cy="1182243"/>
            </a:xfrm>
          </p:grpSpPr>
          <p:sp>
            <p:nvSpPr>
              <p:cNvPr id="175" name="Freeform 30">
                <a:extLst>
                  <a:ext uri="{FF2B5EF4-FFF2-40B4-BE49-F238E27FC236}">
                    <a16:creationId xmlns:a16="http://schemas.microsoft.com/office/drawing/2014/main" xmlns="" id="{49BC73FE-6853-4419-AC44-1784975BCF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8594" y="2961894"/>
                <a:ext cx="1116330" cy="961263"/>
              </a:xfrm>
              <a:custGeom>
                <a:avLst/>
                <a:gdLst>
                  <a:gd name="T0" fmla="*/ 752 w 1564"/>
                  <a:gd name="T1" fmla="*/ 1346 h 1346"/>
                  <a:gd name="T2" fmla="*/ 479 w 1564"/>
                  <a:gd name="T3" fmla="*/ 1346 h 1346"/>
                  <a:gd name="T4" fmla="*/ 469 w 1564"/>
                  <a:gd name="T5" fmla="*/ 1336 h 1346"/>
                  <a:gd name="T6" fmla="*/ 469 w 1564"/>
                  <a:gd name="T7" fmla="*/ 856 h 1346"/>
                  <a:gd name="T8" fmla="*/ 479 w 1564"/>
                  <a:gd name="T9" fmla="*/ 846 h 1346"/>
                  <a:gd name="T10" fmla="*/ 752 w 1564"/>
                  <a:gd name="T11" fmla="*/ 846 h 1346"/>
                  <a:gd name="T12" fmla="*/ 762 w 1564"/>
                  <a:gd name="T13" fmla="*/ 856 h 1346"/>
                  <a:gd name="T14" fmla="*/ 762 w 1564"/>
                  <a:gd name="T15" fmla="*/ 1336 h 1346"/>
                  <a:gd name="T16" fmla="*/ 752 w 1564"/>
                  <a:gd name="T17" fmla="*/ 1346 h 1346"/>
                  <a:gd name="T18" fmla="*/ 1095 w 1564"/>
                  <a:gd name="T19" fmla="*/ 1336 h 1346"/>
                  <a:gd name="T20" fmla="*/ 1095 w 1564"/>
                  <a:gd name="T21" fmla="*/ 856 h 1346"/>
                  <a:gd name="T22" fmla="*/ 1085 w 1564"/>
                  <a:gd name="T23" fmla="*/ 846 h 1346"/>
                  <a:gd name="T24" fmla="*/ 812 w 1564"/>
                  <a:gd name="T25" fmla="*/ 846 h 1346"/>
                  <a:gd name="T26" fmla="*/ 802 w 1564"/>
                  <a:gd name="T27" fmla="*/ 856 h 1346"/>
                  <a:gd name="T28" fmla="*/ 802 w 1564"/>
                  <a:gd name="T29" fmla="*/ 1336 h 1346"/>
                  <a:gd name="T30" fmla="*/ 812 w 1564"/>
                  <a:gd name="T31" fmla="*/ 1346 h 1346"/>
                  <a:gd name="T32" fmla="*/ 1085 w 1564"/>
                  <a:gd name="T33" fmla="*/ 1346 h 1346"/>
                  <a:gd name="T34" fmla="*/ 1095 w 1564"/>
                  <a:gd name="T35" fmla="*/ 1336 h 1346"/>
                  <a:gd name="T36" fmla="*/ 1554 w 1564"/>
                  <a:gd name="T37" fmla="*/ 372 h 1346"/>
                  <a:gd name="T38" fmla="*/ 1384 w 1564"/>
                  <a:gd name="T39" fmla="*/ 18 h 1346"/>
                  <a:gd name="T40" fmla="*/ 1360 w 1564"/>
                  <a:gd name="T41" fmla="*/ 0 h 1346"/>
                  <a:gd name="T42" fmla="*/ 205 w 1564"/>
                  <a:gd name="T43" fmla="*/ 0 h 1346"/>
                  <a:gd name="T44" fmla="*/ 180 w 1564"/>
                  <a:gd name="T45" fmla="*/ 20 h 1346"/>
                  <a:gd name="T46" fmla="*/ 10 w 1564"/>
                  <a:gd name="T47" fmla="*/ 370 h 1346"/>
                  <a:gd name="T48" fmla="*/ 34 w 1564"/>
                  <a:gd name="T49" fmla="*/ 408 h 1346"/>
                  <a:gd name="T50" fmla="*/ 1530 w 1564"/>
                  <a:gd name="T51" fmla="*/ 408 h 1346"/>
                  <a:gd name="T52" fmla="*/ 1554 w 1564"/>
                  <a:gd name="T53" fmla="*/ 372 h 1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4" h="1346">
                    <a:moveTo>
                      <a:pt x="752" y="1346"/>
                    </a:moveTo>
                    <a:cubicBezTo>
                      <a:pt x="479" y="1346"/>
                      <a:pt x="479" y="1346"/>
                      <a:pt x="479" y="1346"/>
                    </a:cubicBezTo>
                    <a:cubicBezTo>
                      <a:pt x="474" y="1346"/>
                      <a:pt x="469" y="1342"/>
                      <a:pt x="469" y="1336"/>
                    </a:cubicBezTo>
                    <a:cubicBezTo>
                      <a:pt x="469" y="856"/>
                      <a:pt x="469" y="856"/>
                      <a:pt x="469" y="856"/>
                    </a:cubicBezTo>
                    <a:cubicBezTo>
                      <a:pt x="469" y="851"/>
                      <a:pt x="474" y="846"/>
                      <a:pt x="479" y="846"/>
                    </a:cubicBezTo>
                    <a:cubicBezTo>
                      <a:pt x="752" y="846"/>
                      <a:pt x="752" y="846"/>
                      <a:pt x="752" y="846"/>
                    </a:cubicBezTo>
                    <a:cubicBezTo>
                      <a:pt x="758" y="846"/>
                      <a:pt x="762" y="851"/>
                      <a:pt x="762" y="856"/>
                    </a:cubicBezTo>
                    <a:cubicBezTo>
                      <a:pt x="762" y="1336"/>
                      <a:pt x="762" y="1336"/>
                      <a:pt x="762" y="1336"/>
                    </a:cubicBezTo>
                    <a:cubicBezTo>
                      <a:pt x="762" y="1342"/>
                      <a:pt x="758" y="1346"/>
                      <a:pt x="752" y="1346"/>
                    </a:cubicBezTo>
                    <a:close/>
                    <a:moveTo>
                      <a:pt x="1095" y="1336"/>
                    </a:moveTo>
                    <a:cubicBezTo>
                      <a:pt x="1095" y="856"/>
                      <a:pt x="1095" y="856"/>
                      <a:pt x="1095" y="856"/>
                    </a:cubicBezTo>
                    <a:cubicBezTo>
                      <a:pt x="1095" y="851"/>
                      <a:pt x="1090" y="846"/>
                      <a:pt x="1085" y="846"/>
                    </a:cubicBezTo>
                    <a:cubicBezTo>
                      <a:pt x="812" y="846"/>
                      <a:pt x="812" y="846"/>
                      <a:pt x="812" y="846"/>
                    </a:cubicBezTo>
                    <a:cubicBezTo>
                      <a:pt x="806" y="846"/>
                      <a:pt x="802" y="851"/>
                      <a:pt x="802" y="856"/>
                    </a:cubicBezTo>
                    <a:cubicBezTo>
                      <a:pt x="802" y="1336"/>
                      <a:pt x="802" y="1336"/>
                      <a:pt x="802" y="1336"/>
                    </a:cubicBezTo>
                    <a:cubicBezTo>
                      <a:pt x="802" y="1342"/>
                      <a:pt x="806" y="1346"/>
                      <a:pt x="812" y="1346"/>
                    </a:cubicBezTo>
                    <a:cubicBezTo>
                      <a:pt x="1085" y="1346"/>
                      <a:pt x="1085" y="1346"/>
                      <a:pt x="1085" y="1346"/>
                    </a:cubicBezTo>
                    <a:cubicBezTo>
                      <a:pt x="1090" y="1346"/>
                      <a:pt x="1095" y="1342"/>
                      <a:pt x="1095" y="1336"/>
                    </a:cubicBezTo>
                    <a:close/>
                    <a:moveTo>
                      <a:pt x="1554" y="372"/>
                    </a:moveTo>
                    <a:cubicBezTo>
                      <a:pt x="1384" y="18"/>
                      <a:pt x="1384" y="18"/>
                      <a:pt x="1384" y="18"/>
                    </a:cubicBezTo>
                    <a:cubicBezTo>
                      <a:pt x="1379" y="9"/>
                      <a:pt x="1370" y="0"/>
                      <a:pt x="1360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4" y="0"/>
                      <a:pt x="185" y="11"/>
                      <a:pt x="180" y="20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0" y="388"/>
                      <a:pt x="14" y="408"/>
                      <a:pt x="34" y="408"/>
                    </a:cubicBezTo>
                    <a:cubicBezTo>
                      <a:pt x="1530" y="408"/>
                      <a:pt x="1530" y="408"/>
                      <a:pt x="1530" y="408"/>
                    </a:cubicBezTo>
                    <a:cubicBezTo>
                      <a:pt x="1551" y="408"/>
                      <a:pt x="1564" y="391"/>
                      <a:pt x="1554" y="372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76" name="Freeform 31">
                <a:extLst>
                  <a:ext uri="{FF2B5EF4-FFF2-40B4-BE49-F238E27FC236}">
                    <a16:creationId xmlns:a16="http://schemas.microsoft.com/office/drawing/2014/main" xmlns="" id="{76C2B07B-CC10-467E-80DB-D1179FF6D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0" y="2899029"/>
                <a:ext cx="1119378" cy="1182243"/>
              </a:xfrm>
              <a:custGeom>
                <a:avLst/>
                <a:gdLst>
                  <a:gd name="T0" fmla="*/ 1524 w 1568"/>
                  <a:gd name="T1" fmla="*/ 1529 h 1655"/>
                  <a:gd name="T2" fmla="*/ 1459 w 1568"/>
                  <a:gd name="T3" fmla="*/ 1529 h 1655"/>
                  <a:gd name="T4" fmla="*/ 1459 w 1568"/>
                  <a:gd name="T5" fmla="*/ 1500 h 1655"/>
                  <a:gd name="T6" fmla="*/ 1438 w 1568"/>
                  <a:gd name="T7" fmla="*/ 1478 h 1655"/>
                  <a:gd name="T8" fmla="*/ 130 w 1568"/>
                  <a:gd name="T9" fmla="*/ 1478 h 1655"/>
                  <a:gd name="T10" fmla="*/ 109 w 1568"/>
                  <a:gd name="T11" fmla="*/ 1500 h 1655"/>
                  <a:gd name="T12" fmla="*/ 109 w 1568"/>
                  <a:gd name="T13" fmla="*/ 1529 h 1655"/>
                  <a:gd name="T14" fmla="*/ 44 w 1568"/>
                  <a:gd name="T15" fmla="*/ 1529 h 1655"/>
                  <a:gd name="T16" fmla="*/ 23 w 1568"/>
                  <a:gd name="T17" fmla="*/ 1551 h 1655"/>
                  <a:gd name="T18" fmla="*/ 23 w 1568"/>
                  <a:gd name="T19" fmla="*/ 1634 h 1655"/>
                  <a:gd name="T20" fmla="*/ 44 w 1568"/>
                  <a:gd name="T21" fmla="*/ 1655 h 1655"/>
                  <a:gd name="T22" fmla="*/ 1524 w 1568"/>
                  <a:gd name="T23" fmla="*/ 1655 h 1655"/>
                  <a:gd name="T24" fmla="*/ 1545 w 1568"/>
                  <a:gd name="T25" fmla="*/ 1634 h 1655"/>
                  <a:gd name="T26" fmla="*/ 1545 w 1568"/>
                  <a:gd name="T27" fmla="*/ 1551 h 1655"/>
                  <a:gd name="T28" fmla="*/ 1524 w 1568"/>
                  <a:gd name="T29" fmla="*/ 1529 h 1655"/>
                  <a:gd name="T30" fmla="*/ 1568 w 1568"/>
                  <a:gd name="T31" fmla="*/ 562 h 1655"/>
                  <a:gd name="T32" fmla="*/ 1568 w 1568"/>
                  <a:gd name="T33" fmla="*/ 583 h 1655"/>
                  <a:gd name="T34" fmla="*/ 1568 w 1568"/>
                  <a:gd name="T35" fmla="*/ 583 h 1655"/>
                  <a:gd name="T36" fmla="*/ 1394 w 1568"/>
                  <a:gd name="T37" fmla="*/ 778 h 1655"/>
                  <a:gd name="T38" fmla="*/ 1394 w 1568"/>
                  <a:gd name="T39" fmla="*/ 1434 h 1655"/>
                  <a:gd name="T40" fmla="*/ 1350 w 1568"/>
                  <a:gd name="T41" fmla="*/ 1434 h 1655"/>
                  <a:gd name="T42" fmla="*/ 1350 w 1568"/>
                  <a:gd name="T43" fmla="*/ 778 h 1655"/>
                  <a:gd name="T44" fmla="*/ 1176 w 1568"/>
                  <a:gd name="T45" fmla="*/ 588 h 1655"/>
                  <a:gd name="T46" fmla="*/ 980 w 1568"/>
                  <a:gd name="T47" fmla="*/ 779 h 1655"/>
                  <a:gd name="T48" fmla="*/ 784 w 1568"/>
                  <a:gd name="T49" fmla="*/ 588 h 1655"/>
                  <a:gd name="T50" fmla="*/ 588 w 1568"/>
                  <a:gd name="T51" fmla="*/ 779 h 1655"/>
                  <a:gd name="T52" fmla="*/ 392 w 1568"/>
                  <a:gd name="T53" fmla="*/ 588 h 1655"/>
                  <a:gd name="T54" fmla="*/ 218 w 1568"/>
                  <a:gd name="T55" fmla="*/ 778 h 1655"/>
                  <a:gd name="T56" fmla="*/ 218 w 1568"/>
                  <a:gd name="T57" fmla="*/ 1434 h 1655"/>
                  <a:gd name="T58" fmla="*/ 174 w 1568"/>
                  <a:gd name="T59" fmla="*/ 1434 h 1655"/>
                  <a:gd name="T60" fmla="*/ 174 w 1568"/>
                  <a:gd name="T61" fmla="*/ 778 h 1655"/>
                  <a:gd name="T62" fmla="*/ 0 w 1568"/>
                  <a:gd name="T63" fmla="*/ 583 h 1655"/>
                  <a:gd name="T64" fmla="*/ 0 w 1568"/>
                  <a:gd name="T65" fmla="*/ 583 h 1655"/>
                  <a:gd name="T66" fmla="*/ 0 w 1568"/>
                  <a:gd name="T67" fmla="*/ 562 h 1655"/>
                  <a:gd name="T68" fmla="*/ 22 w 1568"/>
                  <a:gd name="T69" fmla="*/ 540 h 1655"/>
                  <a:gd name="T70" fmla="*/ 1546 w 1568"/>
                  <a:gd name="T71" fmla="*/ 540 h 1655"/>
                  <a:gd name="T72" fmla="*/ 1568 w 1568"/>
                  <a:gd name="T73" fmla="*/ 562 h 1655"/>
                  <a:gd name="T74" fmla="*/ 1354 w 1568"/>
                  <a:gd name="T75" fmla="*/ 44 h 1655"/>
                  <a:gd name="T76" fmla="*/ 214 w 1568"/>
                  <a:gd name="T77" fmla="*/ 44 h 1655"/>
                  <a:gd name="T78" fmla="*/ 192 w 1568"/>
                  <a:gd name="T79" fmla="*/ 22 h 1655"/>
                  <a:gd name="T80" fmla="*/ 214 w 1568"/>
                  <a:gd name="T81" fmla="*/ 0 h 1655"/>
                  <a:gd name="T82" fmla="*/ 1354 w 1568"/>
                  <a:gd name="T83" fmla="*/ 0 h 1655"/>
                  <a:gd name="T84" fmla="*/ 1376 w 1568"/>
                  <a:gd name="T85" fmla="*/ 22 h 1655"/>
                  <a:gd name="T86" fmla="*/ 1354 w 1568"/>
                  <a:gd name="T87" fmla="*/ 44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68" h="1655">
                    <a:moveTo>
                      <a:pt x="1524" y="1529"/>
                    </a:moveTo>
                    <a:cubicBezTo>
                      <a:pt x="1459" y="1529"/>
                      <a:pt x="1459" y="1529"/>
                      <a:pt x="1459" y="1529"/>
                    </a:cubicBezTo>
                    <a:cubicBezTo>
                      <a:pt x="1459" y="1500"/>
                      <a:pt x="1459" y="1500"/>
                      <a:pt x="1459" y="1500"/>
                    </a:cubicBezTo>
                    <a:cubicBezTo>
                      <a:pt x="1459" y="1488"/>
                      <a:pt x="1450" y="1478"/>
                      <a:pt x="1438" y="1478"/>
                    </a:cubicBezTo>
                    <a:cubicBezTo>
                      <a:pt x="130" y="1478"/>
                      <a:pt x="130" y="1478"/>
                      <a:pt x="130" y="1478"/>
                    </a:cubicBezTo>
                    <a:cubicBezTo>
                      <a:pt x="118" y="1478"/>
                      <a:pt x="109" y="1488"/>
                      <a:pt x="109" y="1500"/>
                    </a:cubicBezTo>
                    <a:cubicBezTo>
                      <a:pt x="109" y="1529"/>
                      <a:pt x="109" y="1529"/>
                      <a:pt x="109" y="1529"/>
                    </a:cubicBezTo>
                    <a:cubicBezTo>
                      <a:pt x="44" y="1529"/>
                      <a:pt x="44" y="1529"/>
                      <a:pt x="44" y="1529"/>
                    </a:cubicBezTo>
                    <a:cubicBezTo>
                      <a:pt x="32" y="1529"/>
                      <a:pt x="23" y="1539"/>
                      <a:pt x="23" y="1551"/>
                    </a:cubicBezTo>
                    <a:cubicBezTo>
                      <a:pt x="23" y="1634"/>
                      <a:pt x="23" y="1634"/>
                      <a:pt x="23" y="1634"/>
                    </a:cubicBezTo>
                    <a:cubicBezTo>
                      <a:pt x="23" y="1646"/>
                      <a:pt x="32" y="1655"/>
                      <a:pt x="44" y="1655"/>
                    </a:cubicBezTo>
                    <a:cubicBezTo>
                      <a:pt x="1524" y="1655"/>
                      <a:pt x="1524" y="1655"/>
                      <a:pt x="1524" y="1655"/>
                    </a:cubicBezTo>
                    <a:cubicBezTo>
                      <a:pt x="1536" y="1655"/>
                      <a:pt x="1545" y="1646"/>
                      <a:pt x="1545" y="1634"/>
                    </a:cubicBezTo>
                    <a:cubicBezTo>
                      <a:pt x="1545" y="1551"/>
                      <a:pt x="1545" y="1551"/>
                      <a:pt x="1545" y="1551"/>
                    </a:cubicBezTo>
                    <a:cubicBezTo>
                      <a:pt x="1545" y="1539"/>
                      <a:pt x="1536" y="1529"/>
                      <a:pt x="1524" y="1529"/>
                    </a:cubicBezTo>
                    <a:close/>
                    <a:moveTo>
                      <a:pt x="1568" y="562"/>
                    </a:move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684"/>
                      <a:pt x="1491" y="767"/>
                      <a:pt x="1394" y="778"/>
                    </a:cubicBezTo>
                    <a:cubicBezTo>
                      <a:pt x="1394" y="1434"/>
                      <a:pt x="1394" y="1434"/>
                      <a:pt x="1394" y="1434"/>
                    </a:cubicBezTo>
                    <a:cubicBezTo>
                      <a:pt x="1350" y="1434"/>
                      <a:pt x="1350" y="1434"/>
                      <a:pt x="1350" y="1434"/>
                    </a:cubicBezTo>
                    <a:cubicBezTo>
                      <a:pt x="1350" y="778"/>
                      <a:pt x="1350" y="778"/>
                      <a:pt x="1350" y="778"/>
                    </a:cubicBezTo>
                    <a:cubicBezTo>
                      <a:pt x="1253" y="767"/>
                      <a:pt x="1178" y="687"/>
                      <a:pt x="1176" y="588"/>
                    </a:cubicBezTo>
                    <a:cubicBezTo>
                      <a:pt x="1173" y="694"/>
                      <a:pt x="1086" y="779"/>
                      <a:pt x="980" y="779"/>
                    </a:cubicBezTo>
                    <a:cubicBezTo>
                      <a:pt x="873" y="779"/>
                      <a:pt x="787" y="694"/>
                      <a:pt x="784" y="588"/>
                    </a:cubicBezTo>
                    <a:cubicBezTo>
                      <a:pt x="781" y="694"/>
                      <a:pt x="695" y="779"/>
                      <a:pt x="588" y="779"/>
                    </a:cubicBezTo>
                    <a:cubicBezTo>
                      <a:pt x="482" y="779"/>
                      <a:pt x="395" y="694"/>
                      <a:pt x="392" y="588"/>
                    </a:cubicBezTo>
                    <a:cubicBezTo>
                      <a:pt x="390" y="687"/>
                      <a:pt x="315" y="767"/>
                      <a:pt x="218" y="778"/>
                    </a:cubicBezTo>
                    <a:cubicBezTo>
                      <a:pt x="218" y="1434"/>
                      <a:pt x="218" y="1434"/>
                      <a:pt x="218" y="1434"/>
                    </a:cubicBezTo>
                    <a:cubicBezTo>
                      <a:pt x="174" y="1434"/>
                      <a:pt x="174" y="1434"/>
                      <a:pt x="174" y="1434"/>
                    </a:cubicBezTo>
                    <a:cubicBezTo>
                      <a:pt x="174" y="778"/>
                      <a:pt x="174" y="778"/>
                      <a:pt x="174" y="778"/>
                    </a:cubicBezTo>
                    <a:cubicBezTo>
                      <a:pt x="77" y="767"/>
                      <a:pt x="0" y="684"/>
                      <a:pt x="0" y="583"/>
                    </a:cubicBezTo>
                    <a:cubicBezTo>
                      <a:pt x="0" y="583"/>
                      <a:pt x="0" y="583"/>
                      <a:pt x="0" y="583"/>
                    </a:cubicBezTo>
                    <a:cubicBezTo>
                      <a:pt x="0" y="562"/>
                      <a:pt x="0" y="562"/>
                      <a:pt x="0" y="562"/>
                    </a:cubicBezTo>
                    <a:cubicBezTo>
                      <a:pt x="0" y="549"/>
                      <a:pt x="10" y="540"/>
                      <a:pt x="22" y="540"/>
                    </a:cubicBezTo>
                    <a:cubicBezTo>
                      <a:pt x="1546" y="540"/>
                      <a:pt x="1546" y="540"/>
                      <a:pt x="1546" y="540"/>
                    </a:cubicBezTo>
                    <a:cubicBezTo>
                      <a:pt x="1558" y="540"/>
                      <a:pt x="1568" y="549"/>
                      <a:pt x="1568" y="562"/>
                    </a:cubicBezTo>
                    <a:close/>
                    <a:moveTo>
                      <a:pt x="1354" y="44"/>
                    </a:moveTo>
                    <a:cubicBezTo>
                      <a:pt x="214" y="44"/>
                      <a:pt x="214" y="44"/>
                      <a:pt x="214" y="44"/>
                    </a:cubicBezTo>
                    <a:cubicBezTo>
                      <a:pt x="202" y="44"/>
                      <a:pt x="192" y="34"/>
                      <a:pt x="192" y="22"/>
                    </a:cubicBezTo>
                    <a:cubicBezTo>
                      <a:pt x="192" y="10"/>
                      <a:pt x="202" y="0"/>
                      <a:pt x="214" y="0"/>
                    </a:cubicBezTo>
                    <a:cubicBezTo>
                      <a:pt x="1354" y="0"/>
                      <a:pt x="1354" y="0"/>
                      <a:pt x="1354" y="0"/>
                    </a:cubicBezTo>
                    <a:cubicBezTo>
                      <a:pt x="1366" y="0"/>
                      <a:pt x="1376" y="10"/>
                      <a:pt x="1376" y="22"/>
                    </a:cubicBezTo>
                    <a:cubicBezTo>
                      <a:pt x="1376" y="34"/>
                      <a:pt x="1366" y="44"/>
                      <a:pt x="1354" y="44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55" name="bcgIcons_CloudReplacesOnPremises">
            <a:extLst>
              <a:ext uri="{FF2B5EF4-FFF2-40B4-BE49-F238E27FC236}">
                <a16:creationId xmlns:a16="http://schemas.microsoft.com/office/drawing/2014/main" xmlns="" id="{4AE0B203-BD8F-4FB1-8412-CBA9A6A668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29374" y="2239209"/>
            <a:ext cx="457200" cy="457623"/>
            <a:chOff x="1682" y="0"/>
            <a:chExt cx="4316" cy="4320"/>
          </a:xfrm>
        </p:grpSpPr>
        <p:sp>
          <p:nvSpPr>
            <p:cNvPr id="156" name="AutoShape 34">
              <a:extLst>
                <a:ext uri="{FF2B5EF4-FFF2-40B4-BE49-F238E27FC236}">
                  <a16:creationId xmlns:a16="http://schemas.microsoft.com/office/drawing/2014/main" xmlns="" id="{7D1B06C0-5A00-40FC-924B-E09F70A4F2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57" name="Freeform 36">
              <a:extLst>
                <a:ext uri="{FF2B5EF4-FFF2-40B4-BE49-F238E27FC236}">
                  <a16:creationId xmlns:a16="http://schemas.microsoft.com/office/drawing/2014/main" xmlns="" id="{8AA7581C-360F-4A95-B081-8BEFDFB1BB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2" y="233"/>
              <a:ext cx="2720" cy="3873"/>
            </a:xfrm>
            <a:custGeom>
              <a:avLst/>
              <a:gdLst>
                <a:gd name="T0" fmla="*/ 558 w 1452"/>
                <a:gd name="T1" fmla="*/ 579 h 2066"/>
                <a:gd name="T2" fmla="*/ 724 w 1452"/>
                <a:gd name="T3" fmla="*/ 424 h 2066"/>
                <a:gd name="T4" fmla="*/ 725 w 1452"/>
                <a:gd name="T5" fmla="*/ 424 h 2066"/>
                <a:gd name="T6" fmla="*/ 893 w 1452"/>
                <a:gd name="T7" fmla="*/ 576 h 2066"/>
                <a:gd name="T8" fmla="*/ 845 w 1452"/>
                <a:gd name="T9" fmla="*/ 625 h 2066"/>
                <a:gd name="T10" fmla="*/ 759 w 1452"/>
                <a:gd name="T11" fmla="*/ 1041 h 2066"/>
                <a:gd name="T12" fmla="*/ 691 w 1452"/>
                <a:gd name="T13" fmla="*/ 540 h 2066"/>
                <a:gd name="T14" fmla="*/ 582 w 1452"/>
                <a:gd name="T15" fmla="*/ 636 h 2066"/>
                <a:gd name="T16" fmla="*/ 1128 w 1452"/>
                <a:gd name="T17" fmla="*/ 2044 h 2066"/>
                <a:gd name="T18" fmla="*/ 1106 w 1452"/>
                <a:gd name="T19" fmla="*/ 1086 h 2066"/>
                <a:gd name="T20" fmla="*/ 320 w 1452"/>
                <a:gd name="T21" fmla="*/ 1108 h 2066"/>
                <a:gd name="T22" fmla="*/ 342 w 1452"/>
                <a:gd name="T23" fmla="*/ 2066 h 2066"/>
                <a:gd name="T24" fmla="*/ 1128 w 1452"/>
                <a:gd name="T25" fmla="*/ 2044 h 2066"/>
                <a:gd name="T26" fmla="*/ 1084 w 1452"/>
                <a:gd name="T27" fmla="*/ 1130 h 2066"/>
                <a:gd name="T28" fmla="*/ 364 w 1452"/>
                <a:gd name="T29" fmla="*/ 2022 h 2066"/>
                <a:gd name="T30" fmla="*/ 1216 w 1452"/>
                <a:gd name="T31" fmla="*/ 338 h 2066"/>
                <a:gd name="T32" fmla="*/ 1010 w 1452"/>
                <a:gd name="T33" fmla="*/ 242 h 2066"/>
                <a:gd name="T34" fmla="*/ 845 w 1452"/>
                <a:gd name="T35" fmla="*/ 152 h 2066"/>
                <a:gd name="T36" fmla="*/ 761 w 1452"/>
                <a:gd name="T37" fmla="*/ 62 h 2066"/>
                <a:gd name="T38" fmla="*/ 356 w 1452"/>
                <a:gd name="T39" fmla="*/ 88 h 2066"/>
                <a:gd name="T40" fmla="*/ 159 w 1452"/>
                <a:gd name="T41" fmla="*/ 347 h 2066"/>
                <a:gd name="T42" fmla="*/ 140 w 1452"/>
                <a:gd name="T43" fmla="*/ 694 h 2066"/>
                <a:gd name="T44" fmla="*/ 498 w 1452"/>
                <a:gd name="T45" fmla="*/ 904 h 2066"/>
                <a:gd name="T46" fmla="*/ 647 w 1452"/>
                <a:gd name="T47" fmla="*/ 812 h 2066"/>
                <a:gd name="T48" fmla="*/ 290 w 1452"/>
                <a:gd name="T49" fmla="*/ 755 h 2066"/>
                <a:gd name="T50" fmla="*/ 192 w 1452"/>
                <a:gd name="T51" fmla="*/ 376 h 2066"/>
                <a:gd name="T52" fmla="*/ 574 w 1452"/>
                <a:gd name="T53" fmla="*/ 44 h 2066"/>
                <a:gd name="T54" fmla="*/ 817 w 1452"/>
                <a:gd name="T55" fmla="*/ 198 h 2066"/>
                <a:gd name="T56" fmla="*/ 985 w 1452"/>
                <a:gd name="T57" fmla="*/ 290 h 2066"/>
                <a:gd name="T58" fmla="*/ 1188 w 1452"/>
                <a:gd name="T59" fmla="*/ 375 h 2066"/>
                <a:gd name="T60" fmla="*/ 1132 w 1452"/>
                <a:gd name="T61" fmla="*/ 770 h 2066"/>
                <a:gd name="T62" fmla="*/ 996 w 1452"/>
                <a:gd name="T63" fmla="*/ 811 h 2066"/>
                <a:gd name="T64" fmla="*/ 803 w 1452"/>
                <a:gd name="T65" fmla="*/ 831 h 2066"/>
                <a:gd name="T66" fmla="*/ 917 w 1452"/>
                <a:gd name="T67" fmla="*/ 841 h 2066"/>
                <a:gd name="T68" fmla="*/ 1129 w 1452"/>
                <a:gd name="T69" fmla="*/ 814 h 2066"/>
                <a:gd name="T70" fmla="*/ 1379 w 1452"/>
                <a:gd name="T71" fmla="*/ 569 h 2066"/>
                <a:gd name="T72" fmla="*/ 278 w 1452"/>
                <a:gd name="T73" fmla="*/ 1890 h 2066"/>
                <a:gd name="T74" fmla="*/ 44 w 1452"/>
                <a:gd name="T75" fmla="*/ 1195 h 2066"/>
                <a:gd name="T76" fmla="*/ 278 w 1452"/>
                <a:gd name="T77" fmla="*/ 1151 h 2066"/>
                <a:gd name="T78" fmla="*/ 0 w 1452"/>
                <a:gd name="T79" fmla="*/ 1173 h 2066"/>
                <a:gd name="T80" fmla="*/ 22 w 1452"/>
                <a:gd name="T81" fmla="*/ 1934 h 2066"/>
                <a:gd name="T82" fmla="*/ 278 w 1452"/>
                <a:gd name="T83" fmla="*/ 1890 h 2066"/>
                <a:gd name="T84" fmla="*/ 1172 w 1452"/>
                <a:gd name="T85" fmla="*/ 1151 h 2066"/>
                <a:gd name="T86" fmla="*/ 1408 w 1452"/>
                <a:gd name="T87" fmla="*/ 1195 h 2066"/>
                <a:gd name="T88" fmla="*/ 1172 w 1452"/>
                <a:gd name="T89" fmla="*/ 1890 h 2066"/>
                <a:gd name="T90" fmla="*/ 1430 w 1452"/>
                <a:gd name="T91" fmla="*/ 1934 h 2066"/>
                <a:gd name="T92" fmla="*/ 1452 w 1452"/>
                <a:gd name="T93" fmla="*/ 1173 h 2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52" h="2066">
                  <a:moveTo>
                    <a:pt x="558" y="627"/>
                  </a:moveTo>
                  <a:cubicBezTo>
                    <a:pt x="544" y="614"/>
                    <a:pt x="544" y="592"/>
                    <a:pt x="558" y="579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706" y="428"/>
                    <a:pt x="715" y="424"/>
                    <a:pt x="724" y="424"/>
                  </a:cubicBezTo>
                  <a:cubicBezTo>
                    <a:pt x="724" y="424"/>
                    <a:pt x="724" y="424"/>
                    <a:pt x="725" y="424"/>
                  </a:cubicBezTo>
                  <a:cubicBezTo>
                    <a:pt x="725" y="424"/>
                    <a:pt x="725" y="424"/>
                    <a:pt x="725" y="424"/>
                  </a:cubicBezTo>
                  <a:cubicBezTo>
                    <a:pt x="737" y="424"/>
                    <a:pt x="747" y="430"/>
                    <a:pt x="753" y="439"/>
                  </a:cubicBezTo>
                  <a:cubicBezTo>
                    <a:pt x="893" y="576"/>
                    <a:pt x="893" y="576"/>
                    <a:pt x="893" y="576"/>
                  </a:cubicBezTo>
                  <a:cubicBezTo>
                    <a:pt x="906" y="590"/>
                    <a:pt x="906" y="611"/>
                    <a:pt x="893" y="624"/>
                  </a:cubicBezTo>
                  <a:cubicBezTo>
                    <a:pt x="880" y="638"/>
                    <a:pt x="858" y="638"/>
                    <a:pt x="845" y="625"/>
                  </a:cubicBezTo>
                  <a:cubicBezTo>
                    <a:pt x="759" y="540"/>
                    <a:pt x="759" y="540"/>
                    <a:pt x="759" y="540"/>
                  </a:cubicBezTo>
                  <a:cubicBezTo>
                    <a:pt x="759" y="1041"/>
                    <a:pt x="759" y="1041"/>
                    <a:pt x="759" y="1041"/>
                  </a:cubicBezTo>
                  <a:cubicBezTo>
                    <a:pt x="691" y="1041"/>
                    <a:pt x="691" y="1041"/>
                    <a:pt x="691" y="1041"/>
                  </a:cubicBezTo>
                  <a:cubicBezTo>
                    <a:pt x="691" y="540"/>
                    <a:pt x="691" y="540"/>
                    <a:pt x="691" y="540"/>
                  </a:cubicBezTo>
                  <a:cubicBezTo>
                    <a:pt x="606" y="626"/>
                    <a:pt x="606" y="626"/>
                    <a:pt x="606" y="626"/>
                  </a:cubicBezTo>
                  <a:cubicBezTo>
                    <a:pt x="599" y="633"/>
                    <a:pt x="591" y="636"/>
                    <a:pt x="582" y="636"/>
                  </a:cubicBezTo>
                  <a:cubicBezTo>
                    <a:pt x="573" y="636"/>
                    <a:pt x="564" y="633"/>
                    <a:pt x="558" y="627"/>
                  </a:cubicBezTo>
                  <a:close/>
                  <a:moveTo>
                    <a:pt x="1128" y="2044"/>
                  </a:moveTo>
                  <a:cubicBezTo>
                    <a:pt x="1128" y="1108"/>
                    <a:pt x="1128" y="1108"/>
                    <a:pt x="1128" y="1108"/>
                  </a:cubicBezTo>
                  <a:cubicBezTo>
                    <a:pt x="1128" y="1096"/>
                    <a:pt x="1118" y="1086"/>
                    <a:pt x="1106" y="1086"/>
                  </a:cubicBezTo>
                  <a:cubicBezTo>
                    <a:pt x="342" y="1086"/>
                    <a:pt x="342" y="1086"/>
                    <a:pt x="342" y="1086"/>
                  </a:cubicBezTo>
                  <a:cubicBezTo>
                    <a:pt x="330" y="1086"/>
                    <a:pt x="320" y="1096"/>
                    <a:pt x="320" y="1108"/>
                  </a:cubicBezTo>
                  <a:cubicBezTo>
                    <a:pt x="320" y="2044"/>
                    <a:pt x="320" y="2044"/>
                    <a:pt x="320" y="2044"/>
                  </a:cubicBezTo>
                  <a:cubicBezTo>
                    <a:pt x="320" y="2056"/>
                    <a:pt x="330" y="2066"/>
                    <a:pt x="342" y="2066"/>
                  </a:cubicBezTo>
                  <a:cubicBezTo>
                    <a:pt x="1106" y="2066"/>
                    <a:pt x="1106" y="2066"/>
                    <a:pt x="1106" y="2066"/>
                  </a:cubicBezTo>
                  <a:cubicBezTo>
                    <a:pt x="1118" y="2066"/>
                    <a:pt x="1128" y="2056"/>
                    <a:pt x="1128" y="2044"/>
                  </a:cubicBezTo>
                  <a:close/>
                  <a:moveTo>
                    <a:pt x="364" y="1130"/>
                  </a:moveTo>
                  <a:cubicBezTo>
                    <a:pt x="1084" y="1130"/>
                    <a:pt x="1084" y="1130"/>
                    <a:pt x="1084" y="1130"/>
                  </a:cubicBezTo>
                  <a:cubicBezTo>
                    <a:pt x="1084" y="2022"/>
                    <a:pt x="1084" y="2022"/>
                    <a:pt x="1084" y="2022"/>
                  </a:cubicBezTo>
                  <a:cubicBezTo>
                    <a:pt x="364" y="2022"/>
                    <a:pt x="364" y="2022"/>
                    <a:pt x="364" y="2022"/>
                  </a:cubicBezTo>
                  <a:lnTo>
                    <a:pt x="364" y="1130"/>
                  </a:lnTo>
                  <a:close/>
                  <a:moveTo>
                    <a:pt x="1216" y="338"/>
                  </a:moveTo>
                  <a:cubicBezTo>
                    <a:pt x="1172" y="277"/>
                    <a:pt x="1103" y="241"/>
                    <a:pt x="1026" y="241"/>
                  </a:cubicBezTo>
                  <a:cubicBezTo>
                    <a:pt x="1021" y="241"/>
                    <a:pt x="1015" y="242"/>
                    <a:pt x="1010" y="242"/>
                  </a:cubicBezTo>
                  <a:cubicBezTo>
                    <a:pt x="996" y="220"/>
                    <a:pt x="977" y="201"/>
                    <a:pt x="955" y="186"/>
                  </a:cubicBezTo>
                  <a:cubicBezTo>
                    <a:pt x="923" y="163"/>
                    <a:pt x="885" y="152"/>
                    <a:pt x="845" y="152"/>
                  </a:cubicBezTo>
                  <a:cubicBezTo>
                    <a:pt x="844" y="152"/>
                    <a:pt x="843" y="152"/>
                    <a:pt x="842" y="152"/>
                  </a:cubicBezTo>
                  <a:cubicBezTo>
                    <a:pt x="821" y="117"/>
                    <a:pt x="794" y="86"/>
                    <a:pt x="761" y="62"/>
                  </a:cubicBezTo>
                  <a:cubicBezTo>
                    <a:pt x="707" y="21"/>
                    <a:pt x="642" y="0"/>
                    <a:pt x="574" y="0"/>
                  </a:cubicBezTo>
                  <a:cubicBezTo>
                    <a:pt x="492" y="0"/>
                    <a:pt x="414" y="31"/>
                    <a:pt x="356" y="88"/>
                  </a:cubicBezTo>
                  <a:cubicBezTo>
                    <a:pt x="305" y="138"/>
                    <a:pt x="273" y="202"/>
                    <a:pt x="265" y="272"/>
                  </a:cubicBezTo>
                  <a:cubicBezTo>
                    <a:pt x="224" y="288"/>
                    <a:pt x="188" y="314"/>
                    <a:pt x="159" y="347"/>
                  </a:cubicBezTo>
                  <a:cubicBezTo>
                    <a:pt x="114" y="398"/>
                    <a:pt x="89" y="464"/>
                    <a:pt x="89" y="532"/>
                  </a:cubicBezTo>
                  <a:cubicBezTo>
                    <a:pt x="89" y="590"/>
                    <a:pt x="107" y="646"/>
                    <a:pt x="140" y="694"/>
                  </a:cubicBezTo>
                  <a:cubicBezTo>
                    <a:pt x="171" y="737"/>
                    <a:pt x="213" y="771"/>
                    <a:pt x="262" y="792"/>
                  </a:cubicBezTo>
                  <a:cubicBezTo>
                    <a:pt x="320" y="862"/>
                    <a:pt x="407" y="904"/>
                    <a:pt x="498" y="904"/>
                  </a:cubicBezTo>
                  <a:cubicBezTo>
                    <a:pt x="551" y="904"/>
                    <a:pt x="602" y="890"/>
                    <a:pt x="647" y="864"/>
                  </a:cubicBezTo>
                  <a:cubicBezTo>
                    <a:pt x="647" y="812"/>
                    <a:pt x="647" y="812"/>
                    <a:pt x="647" y="812"/>
                  </a:cubicBezTo>
                  <a:cubicBezTo>
                    <a:pt x="604" y="843"/>
                    <a:pt x="552" y="860"/>
                    <a:pt x="498" y="860"/>
                  </a:cubicBezTo>
                  <a:cubicBezTo>
                    <a:pt x="415" y="860"/>
                    <a:pt x="338" y="821"/>
                    <a:pt x="290" y="755"/>
                  </a:cubicBezTo>
                  <a:cubicBezTo>
                    <a:pt x="196" y="721"/>
                    <a:pt x="133" y="633"/>
                    <a:pt x="133" y="532"/>
                  </a:cubicBezTo>
                  <a:cubicBezTo>
                    <a:pt x="133" y="474"/>
                    <a:pt x="154" y="419"/>
                    <a:pt x="192" y="376"/>
                  </a:cubicBezTo>
                  <a:cubicBezTo>
                    <a:pt x="223" y="341"/>
                    <a:pt x="262" y="316"/>
                    <a:pt x="307" y="304"/>
                  </a:cubicBezTo>
                  <a:cubicBezTo>
                    <a:pt x="309" y="160"/>
                    <a:pt x="428" y="44"/>
                    <a:pt x="574" y="44"/>
                  </a:cubicBezTo>
                  <a:cubicBezTo>
                    <a:pt x="632" y="44"/>
                    <a:pt x="688" y="62"/>
                    <a:pt x="735" y="97"/>
                  </a:cubicBezTo>
                  <a:cubicBezTo>
                    <a:pt x="770" y="124"/>
                    <a:pt x="799" y="159"/>
                    <a:pt x="817" y="198"/>
                  </a:cubicBezTo>
                  <a:cubicBezTo>
                    <a:pt x="827" y="196"/>
                    <a:pt x="836" y="196"/>
                    <a:pt x="845" y="196"/>
                  </a:cubicBezTo>
                  <a:cubicBezTo>
                    <a:pt x="908" y="196"/>
                    <a:pt x="963" y="235"/>
                    <a:pt x="985" y="290"/>
                  </a:cubicBezTo>
                  <a:cubicBezTo>
                    <a:pt x="999" y="287"/>
                    <a:pt x="1013" y="285"/>
                    <a:pt x="1026" y="285"/>
                  </a:cubicBezTo>
                  <a:cubicBezTo>
                    <a:pt x="1093" y="285"/>
                    <a:pt x="1154" y="319"/>
                    <a:pt x="1188" y="375"/>
                  </a:cubicBezTo>
                  <a:cubicBezTo>
                    <a:pt x="1274" y="399"/>
                    <a:pt x="1335" y="478"/>
                    <a:pt x="1335" y="569"/>
                  </a:cubicBezTo>
                  <a:cubicBezTo>
                    <a:pt x="1335" y="680"/>
                    <a:pt x="1244" y="770"/>
                    <a:pt x="1132" y="770"/>
                  </a:cubicBezTo>
                  <a:cubicBezTo>
                    <a:pt x="1114" y="770"/>
                    <a:pt x="1114" y="770"/>
                    <a:pt x="1114" y="770"/>
                  </a:cubicBezTo>
                  <a:cubicBezTo>
                    <a:pt x="1080" y="796"/>
                    <a:pt x="1039" y="811"/>
                    <a:pt x="996" y="811"/>
                  </a:cubicBezTo>
                  <a:cubicBezTo>
                    <a:pt x="967" y="811"/>
                    <a:pt x="938" y="804"/>
                    <a:pt x="912" y="792"/>
                  </a:cubicBezTo>
                  <a:cubicBezTo>
                    <a:pt x="880" y="815"/>
                    <a:pt x="843" y="829"/>
                    <a:pt x="803" y="831"/>
                  </a:cubicBezTo>
                  <a:cubicBezTo>
                    <a:pt x="803" y="875"/>
                    <a:pt x="803" y="875"/>
                    <a:pt x="803" y="875"/>
                  </a:cubicBezTo>
                  <a:cubicBezTo>
                    <a:pt x="843" y="873"/>
                    <a:pt x="882" y="862"/>
                    <a:pt x="917" y="841"/>
                  </a:cubicBezTo>
                  <a:cubicBezTo>
                    <a:pt x="942" y="850"/>
                    <a:pt x="968" y="855"/>
                    <a:pt x="996" y="855"/>
                  </a:cubicBezTo>
                  <a:cubicBezTo>
                    <a:pt x="1043" y="855"/>
                    <a:pt x="1089" y="840"/>
                    <a:pt x="1129" y="814"/>
                  </a:cubicBezTo>
                  <a:cubicBezTo>
                    <a:pt x="1132" y="814"/>
                    <a:pt x="1132" y="814"/>
                    <a:pt x="1132" y="814"/>
                  </a:cubicBezTo>
                  <a:cubicBezTo>
                    <a:pt x="1269" y="814"/>
                    <a:pt x="1379" y="704"/>
                    <a:pt x="1379" y="569"/>
                  </a:cubicBezTo>
                  <a:cubicBezTo>
                    <a:pt x="1379" y="465"/>
                    <a:pt x="1313" y="372"/>
                    <a:pt x="1216" y="338"/>
                  </a:cubicBezTo>
                  <a:close/>
                  <a:moveTo>
                    <a:pt x="278" y="1890"/>
                  </a:moveTo>
                  <a:cubicBezTo>
                    <a:pt x="44" y="1890"/>
                    <a:pt x="44" y="1890"/>
                    <a:pt x="44" y="1890"/>
                  </a:cubicBezTo>
                  <a:cubicBezTo>
                    <a:pt x="44" y="1195"/>
                    <a:pt x="44" y="1195"/>
                    <a:pt x="44" y="1195"/>
                  </a:cubicBezTo>
                  <a:cubicBezTo>
                    <a:pt x="278" y="1195"/>
                    <a:pt x="278" y="1195"/>
                    <a:pt x="278" y="1195"/>
                  </a:cubicBezTo>
                  <a:cubicBezTo>
                    <a:pt x="278" y="1151"/>
                    <a:pt x="278" y="1151"/>
                    <a:pt x="278" y="1151"/>
                  </a:cubicBezTo>
                  <a:cubicBezTo>
                    <a:pt x="22" y="1151"/>
                    <a:pt x="22" y="1151"/>
                    <a:pt x="22" y="1151"/>
                  </a:cubicBezTo>
                  <a:cubicBezTo>
                    <a:pt x="10" y="1151"/>
                    <a:pt x="0" y="1161"/>
                    <a:pt x="0" y="1173"/>
                  </a:cubicBezTo>
                  <a:cubicBezTo>
                    <a:pt x="0" y="1912"/>
                    <a:pt x="0" y="1912"/>
                    <a:pt x="0" y="1912"/>
                  </a:cubicBezTo>
                  <a:cubicBezTo>
                    <a:pt x="0" y="1924"/>
                    <a:pt x="10" y="1934"/>
                    <a:pt x="22" y="1934"/>
                  </a:cubicBezTo>
                  <a:cubicBezTo>
                    <a:pt x="278" y="1934"/>
                    <a:pt x="278" y="1934"/>
                    <a:pt x="278" y="1934"/>
                  </a:cubicBezTo>
                  <a:lnTo>
                    <a:pt x="278" y="1890"/>
                  </a:lnTo>
                  <a:close/>
                  <a:moveTo>
                    <a:pt x="1430" y="1151"/>
                  </a:moveTo>
                  <a:cubicBezTo>
                    <a:pt x="1172" y="1151"/>
                    <a:pt x="1172" y="1151"/>
                    <a:pt x="1172" y="1151"/>
                  </a:cubicBezTo>
                  <a:cubicBezTo>
                    <a:pt x="1172" y="1195"/>
                    <a:pt x="1172" y="1195"/>
                    <a:pt x="1172" y="1195"/>
                  </a:cubicBezTo>
                  <a:cubicBezTo>
                    <a:pt x="1408" y="1195"/>
                    <a:pt x="1408" y="1195"/>
                    <a:pt x="1408" y="1195"/>
                  </a:cubicBezTo>
                  <a:cubicBezTo>
                    <a:pt x="1408" y="1890"/>
                    <a:pt x="1408" y="1890"/>
                    <a:pt x="1408" y="1890"/>
                  </a:cubicBezTo>
                  <a:cubicBezTo>
                    <a:pt x="1172" y="1890"/>
                    <a:pt x="1172" y="1890"/>
                    <a:pt x="1172" y="1890"/>
                  </a:cubicBezTo>
                  <a:cubicBezTo>
                    <a:pt x="1172" y="1934"/>
                    <a:pt x="1172" y="1934"/>
                    <a:pt x="1172" y="1934"/>
                  </a:cubicBezTo>
                  <a:cubicBezTo>
                    <a:pt x="1430" y="1934"/>
                    <a:pt x="1430" y="1934"/>
                    <a:pt x="1430" y="1934"/>
                  </a:cubicBezTo>
                  <a:cubicBezTo>
                    <a:pt x="1442" y="1934"/>
                    <a:pt x="1452" y="1924"/>
                    <a:pt x="1452" y="1912"/>
                  </a:cubicBezTo>
                  <a:cubicBezTo>
                    <a:pt x="1452" y="1173"/>
                    <a:pt x="1452" y="1173"/>
                    <a:pt x="1452" y="1173"/>
                  </a:cubicBezTo>
                  <a:cubicBezTo>
                    <a:pt x="1452" y="1161"/>
                    <a:pt x="1442" y="1151"/>
                    <a:pt x="1430" y="1151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58" name="Freeform 37">
              <a:extLst>
                <a:ext uri="{FF2B5EF4-FFF2-40B4-BE49-F238E27FC236}">
                  <a16:creationId xmlns:a16="http://schemas.microsoft.com/office/drawing/2014/main" xmlns="" id="{F8172E0B-A00A-4F3F-848A-F4653D67D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" y="383"/>
              <a:ext cx="2372" cy="3558"/>
            </a:xfrm>
            <a:custGeom>
              <a:avLst/>
              <a:gdLst>
                <a:gd name="T0" fmla="*/ 1008 w 1266"/>
                <a:gd name="T1" fmla="*/ 654 h 1898"/>
                <a:gd name="T2" fmla="*/ 710 w 1266"/>
                <a:gd name="T3" fmla="*/ 715 h 1898"/>
                <a:gd name="T4" fmla="*/ 776 w 1266"/>
                <a:gd name="T5" fmla="*/ 599 h 1898"/>
                <a:gd name="T6" fmla="*/ 830 w 1266"/>
                <a:gd name="T7" fmla="*/ 465 h 1898"/>
                <a:gd name="T8" fmla="*/ 631 w 1266"/>
                <a:gd name="T9" fmla="*/ 300 h 1898"/>
                <a:gd name="T10" fmla="*/ 411 w 1266"/>
                <a:gd name="T11" fmla="*/ 523 h 1898"/>
                <a:gd name="T12" fmla="*/ 544 w 1266"/>
                <a:gd name="T13" fmla="*/ 577 h 1898"/>
                <a:gd name="T14" fmla="*/ 405 w 1266"/>
                <a:gd name="T15" fmla="*/ 744 h 1898"/>
                <a:gd name="T16" fmla="*/ 250 w 1266"/>
                <a:gd name="T17" fmla="*/ 253 h 1898"/>
                <a:gd name="T18" fmla="*/ 703 w 1266"/>
                <a:gd name="T19" fmla="*/ 163 h 1898"/>
                <a:gd name="T20" fmla="*/ 933 w 1266"/>
                <a:gd name="T21" fmla="*/ 241 h 1898"/>
                <a:gd name="T22" fmla="*/ 947 w 1266"/>
                <a:gd name="T23" fmla="*/ 1103 h 1898"/>
                <a:gd name="T24" fmla="*/ 327 w 1266"/>
                <a:gd name="T25" fmla="*/ 1308 h 1898"/>
                <a:gd name="T26" fmla="*/ 327 w 1266"/>
                <a:gd name="T27" fmla="*/ 1093 h 1898"/>
                <a:gd name="T28" fmla="*/ 478 w 1266"/>
                <a:gd name="T29" fmla="*/ 1196 h 1898"/>
                <a:gd name="T30" fmla="*/ 433 w 1266"/>
                <a:gd name="T31" fmla="*/ 1242 h 1898"/>
                <a:gd name="T32" fmla="*/ 798 w 1266"/>
                <a:gd name="T33" fmla="*/ 1174 h 1898"/>
                <a:gd name="T34" fmla="*/ 535 w 1266"/>
                <a:gd name="T35" fmla="*/ 1218 h 1898"/>
                <a:gd name="T36" fmla="*/ 947 w 1266"/>
                <a:gd name="T37" fmla="*/ 1399 h 1898"/>
                <a:gd name="T38" fmla="*/ 327 w 1266"/>
                <a:gd name="T39" fmla="*/ 1603 h 1898"/>
                <a:gd name="T40" fmla="*/ 327 w 1266"/>
                <a:gd name="T41" fmla="*/ 1389 h 1898"/>
                <a:gd name="T42" fmla="*/ 478 w 1266"/>
                <a:gd name="T43" fmla="*/ 1492 h 1898"/>
                <a:gd name="T44" fmla="*/ 433 w 1266"/>
                <a:gd name="T45" fmla="*/ 1537 h 1898"/>
                <a:gd name="T46" fmla="*/ 798 w 1266"/>
                <a:gd name="T47" fmla="*/ 1470 h 1898"/>
                <a:gd name="T48" fmla="*/ 535 w 1266"/>
                <a:gd name="T49" fmla="*/ 1514 h 1898"/>
                <a:gd name="T50" fmla="*/ 947 w 1266"/>
                <a:gd name="T51" fmla="*/ 1693 h 1898"/>
                <a:gd name="T52" fmla="*/ 327 w 1266"/>
                <a:gd name="T53" fmla="*/ 1898 h 1898"/>
                <a:gd name="T54" fmla="*/ 327 w 1266"/>
                <a:gd name="T55" fmla="*/ 1683 h 1898"/>
                <a:gd name="T56" fmla="*/ 478 w 1266"/>
                <a:gd name="T57" fmla="*/ 1787 h 1898"/>
                <a:gd name="T58" fmla="*/ 433 w 1266"/>
                <a:gd name="T59" fmla="*/ 1832 h 1898"/>
                <a:gd name="T60" fmla="*/ 798 w 1266"/>
                <a:gd name="T61" fmla="*/ 1765 h 1898"/>
                <a:gd name="T62" fmla="*/ 535 w 1266"/>
                <a:gd name="T63" fmla="*/ 1809 h 1898"/>
                <a:gd name="T64" fmla="*/ 1256 w 1266"/>
                <a:gd name="T65" fmla="*/ 1168 h 1898"/>
                <a:gd name="T66" fmla="*/ 1256 w 1266"/>
                <a:gd name="T67" fmla="*/ 1307 h 1898"/>
                <a:gd name="T68" fmla="*/ 1256 w 1266"/>
                <a:gd name="T69" fmla="*/ 1168 h 1898"/>
                <a:gd name="T70" fmla="*/ 0 w 1266"/>
                <a:gd name="T71" fmla="*/ 1178 h 1898"/>
                <a:gd name="T72" fmla="*/ 185 w 1266"/>
                <a:gd name="T73" fmla="*/ 1307 h 1898"/>
                <a:gd name="T74" fmla="*/ 10 w 1266"/>
                <a:gd name="T75" fmla="*/ 1395 h 1898"/>
                <a:gd name="T76" fmla="*/ 10 w 1266"/>
                <a:gd name="T77" fmla="*/ 1533 h 1898"/>
                <a:gd name="T78" fmla="*/ 1256 w 1266"/>
                <a:gd name="T79" fmla="*/ 1395 h 1898"/>
                <a:gd name="T80" fmla="*/ 1256 w 1266"/>
                <a:gd name="T81" fmla="*/ 1533 h 1898"/>
                <a:gd name="T82" fmla="*/ 1256 w 1266"/>
                <a:gd name="T83" fmla="*/ 1395 h 1898"/>
                <a:gd name="T84" fmla="*/ 0 w 1266"/>
                <a:gd name="T85" fmla="*/ 1630 h 1898"/>
                <a:gd name="T86" fmla="*/ 185 w 1266"/>
                <a:gd name="T87" fmla="*/ 1759 h 1898"/>
                <a:gd name="T88" fmla="*/ 1079 w 1266"/>
                <a:gd name="T89" fmla="*/ 1620 h 1898"/>
                <a:gd name="T90" fmla="*/ 1266 w 1266"/>
                <a:gd name="T91" fmla="*/ 1749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66" h="1898">
                  <a:moveTo>
                    <a:pt x="1207" y="489"/>
                  </a:moveTo>
                  <a:cubicBezTo>
                    <a:pt x="1207" y="580"/>
                    <a:pt x="1132" y="654"/>
                    <a:pt x="1039" y="654"/>
                  </a:cubicBezTo>
                  <a:cubicBezTo>
                    <a:pt x="1033" y="654"/>
                    <a:pt x="1022" y="654"/>
                    <a:pt x="1008" y="654"/>
                  </a:cubicBezTo>
                  <a:cubicBezTo>
                    <a:pt x="980" y="679"/>
                    <a:pt x="943" y="695"/>
                    <a:pt x="903" y="695"/>
                  </a:cubicBezTo>
                  <a:cubicBezTo>
                    <a:pt x="870" y="695"/>
                    <a:pt x="841" y="685"/>
                    <a:pt x="816" y="669"/>
                  </a:cubicBezTo>
                  <a:cubicBezTo>
                    <a:pt x="788" y="695"/>
                    <a:pt x="751" y="712"/>
                    <a:pt x="710" y="715"/>
                  </a:cubicBezTo>
                  <a:cubicBezTo>
                    <a:pt x="710" y="566"/>
                    <a:pt x="710" y="566"/>
                    <a:pt x="710" y="566"/>
                  </a:cubicBezTo>
                  <a:cubicBezTo>
                    <a:pt x="721" y="576"/>
                    <a:pt x="721" y="576"/>
                    <a:pt x="721" y="576"/>
                  </a:cubicBezTo>
                  <a:cubicBezTo>
                    <a:pt x="736" y="591"/>
                    <a:pt x="755" y="599"/>
                    <a:pt x="776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797" y="599"/>
                    <a:pt x="816" y="590"/>
                    <a:pt x="831" y="575"/>
                  </a:cubicBezTo>
                  <a:cubicBezTo>
                    <a:pt x="861" y="545"/>
                    <a:pt x="861" y="495"/>
                    <a:pt x="830" y="465"/>
                  </a:cubicBezTo>
                  <a:cubicBezTo>
                    <a:pt x="694" y="330"/>
                    <a:pt x="694" y="330"/>
                    <a:pt x="694" y="330"/>
                  </a:cubicBezTo>
                  <a:cubicBezTo>
                    <a:pt x="679" y="311"/>
                    <a:pt x="656" y="300"/>
                    <a:pt x="632" y="300"/>
                  </a:cubicBezTo>
                  <a:cubicBezTo>
                    <a:pt x="632" y="300"/>
                    <a:pt x="631" y="300"/>
                    <a:pt x="631" y="300"/>
                  </a:cubicBezTo>
                  <a:cubicBezTo>
                    <a:pt x="610" y="300"/>
                    <a:pt x="590" y="308"/>
                    <a:pt x="576" y="323"/>
                  </a:cubicBezTo>
                  <a:cubicBezTo>
                    <a:pt x="433" y="468"/>
                    <a:pt x="433" y="468"/>
                    <a:pt x="433" y="468"/>
                  </a:cubicBezTo>
                  <a:cubicBezTo>
                    <a:pt x="419" y="483"/>
                    <a:pt x="411" y="502"/>
                    <a:pt x="411" y="523"/>
                  </a:cubicBezTo>
                  <a:cubicBezTo>
                    <a:pt x="411" y="544"/>
                    <a:pt x="419" y="563"/>
                    <a:pt x="434" y="578"/>
                  </a:cubicBezTo>
                  <a:cubicBezTo>
                    <a:pt x="449" y="593"/>
                    <a:pt x="468" y="600"/>
                    <a:pt x="489" y="600"/>
                  </a:cubicBezTo>
                  <a:cubicBezTo>
                    <a:pt x="510" y="600"/>
                    <a:pt x="529" y="592"/>
                    <a:pt x="544" y="577"/>
                  </a:cubicBezTo>
                  <a:cubicBezTo>
                    <a:pt x="554" y="567"/>
                    <a:pt x="554" y="567"/>
                    <a:pt x="554" y="567"/>
                  </a:cubicBezTo>
                  <a:cubicBezTo>
                    <a:pt x="554" y="687"/>
                    <a:pt x="554" y="687"/>
                    <a:pt x="554" y="687"/>
                  </a:cubicBezTo>
                  <a:cubicBezTo>
                    <a:pt x="515" y="722"/>
                    <a:pt x="462" y="744"/>
                    <a:pt x="405" y="744"/>
                  </a:cubicBezTo>
                  <a:cubicBezTo>
                    <a:pt x="327" y="744"/>
                    <a:pt x="259" y="705"/>
                    <a:pt x="219" y="645"/>
                  </a:cubicBezTo>
                  <a:cubicBezTo>
                    <a:pt x="136" y="619"/>
                    <a:pt x="76" y="543"/>
                    <a:pt x="76" y="452"/>
                  </a:cubicBezTo>
                  <a:cubicBezTo>
                    <a:pt x="76" y="350"/>
                    <a:pt x="152" y="266"/>
                    <a:pt x="250" y="253"/>
                  </a:cubicBezTo>
                  <a:cubicBezTo>
                    <a:pt x="250" y="244"/>
                    <a:pt x="249" y="237"/>
                    <a:pt x="249" y="229"/>
                  </a:cubicBezTo>
                  <a:cubicBezTo>
                    <a:pt x="249" y="103"/>
                    <a:pt x="353" y="0"/>
                    <a:pt x="481" y="0"/>
                  </a:cubicBezTo>
                  <a:cubicBezTo>
                    <a:pt x="586" y="0"/>
                    <a:pt x="674" y="69"/>
                    <a:pt x="703" y="163"/>
                  </a:cubicBezTo>
                  <a:cubicBezTo>
                    <a:pt x="718" y="156"/>
                    <a:pt x="734" y="151"/>
                    <a:pt x="752" y="151"/>
                  </a:cubicBezTo>
                  <a:cubicBezTo>
                    <a:pt x="813" y="151"/>
                    <a:pt x="862" y="198"/>
                    <a:pt x="867" y="256"/>
                  </a:cubicBezTo>
                  <a:cubicBezTo>
                    <a:pt x="887" y="247"/>
                    <a:pt x="910" y="241"/>
                    <a:pt x="933" y="241"/>
                  </a:cubicBezTo>
                  <a:cubicBezTo>
                    <a:pt x="994" y="241"/>
                    <a:pt x="1046" y="276"/>
                    <a:pt x="1071" y="326"/>
                  </a:cubicBezTo>
                  <a:cubicBezTo>
                    <a:pt x="1148" y="341"/>
                    <a:pt x="1207" y="408"/>
                    <a:pt x="1207" y="489"/>
                  </a:cubicBezTo>
                  <a:close/>
                  <a:moveTo>
                    <a:pt x="947" y="1103"/>
                  </a:moveTo>
                  <a:cubicBezTo>
                    <a:pt x="947" y="1298"/>
                    <a:pt x="947" y="1298"/>
                    <a:pt x="947" y="1298"/>
                  </a:cubicBezTo>
                  <a:cubicBezTo>
                    <a:pt x="947" y="1303"/>
                    <a:pt x="943" y="1308"/>
                    <a:pt x="937" y="1308"/>
                  </a:cubicBezTo>
                  <a:cubicBezTo>
                    <a:pt x="327" y="1308"/>
                    <a:pt x="327" y="1308"/>
                    <a:pt x="327" y="1308"/>
                  </a:cubicBezTo>
                  <a:cubicBezTo>
                    <a:pt x="321" y="1308"/>
                    <a:pt x="317" y="1303"/>
                    <a:pt x="317" y="1298"/>
                  </a:cubicBezTo>
                  <a:cubicBezTo>
                    <a:pt x="317" y="1103"/>
                    <a:pt x="317" y="1103"/>
                    <a:pt x="317" y="1103"/>
                  </a:cubicBezTo>
                  <a:cubicBezTo>
                    <a:pt x="317" y="1098"/>
                    <a:pt x="321" y="1093"/>
                    <a:pt x="327" y="1093"/>
                  </a:cubicBezTo>
                  <a:cubicBezTo>
                    <a:pt x="937" y="1093"/>
                    <a:pt x="937" y="1093"/>
                    <a:pt x="937" y="1093"/>
                  </a:cubicBezTo>
                  <a:cubicBezTo>
                    <a:pt x="943" y="1093"/>
                    <a:pt x="947" y="1098"/>
                    <a:pt x="947" y="1103"/>
                  </a:cubicBezTo>
                  <a:close/>
                  <a:moveTo>
                    <a:pt x="478" y="1196"/>
                  </a:moveTo>
                  <a:cubicBezTo>
                    <a:pt x="478" y="1171"/>
                    <a:pt x="458" y="1151"/>
                    <a:pt x="433" y="1151"/>
                  </a:cubicBezTo>
                  <a:cubicBezTo>
                    <a:pt x="408" y="1151"/>
                    <a:pt x="387" y="1171"/>
                    <a:pt x="387" y="1196"/>
                  </a:cubicBezTo>
                  <a:cubicBezTo>
                    <a:pt x="387" y="1221"/>
                    <a:pt x="408" y="1242"/>
                    <a:pt x="433" y="1242"/>
                  </a:cubicBezTo>
                  <a:cubicBezTo>
                    <a:pt x="458" y="1242"/>
                    <a:pt x="478" y="1221"/>
                    <a:pt x="478" y="1196"/>
                  </a:cubicBezTo>
                  <a:close/>
                  <a:moveTo>
                    <a:pt x="820" y="1196"/>
                  </a:moveTo>
                  <a:cubicBezTo>
                    <a:pt x="820" y="1184"/>
                    <a:pt x="810" y="1174"/>
                    <a:pt x="798" y="1174"/>
                  </a:cubicBezTo>
                  <a:cubicBezTo>
                    <a:pt x="535" y="1174"/>
                    <a:pt x="535" y="1174"/>
                    <a:pt x="535" y="1174"/>
                  </a:cubicBezTo>
                  <a:cubicBezTo>
                    <a:pt x="522" y="1174"/>
                    <a:pt x="513" y="1184"/>
                    <a:pt x="513" y="1196"/>
                  </a:cubicBezTo>
                  <a:cubicBezTo>
                    <a:pt x="513" y="1209"/>
                    <a:pt x="522" y="1218"/>
                    <a:pt x="535" y="1218"/>
                  </a:cubicBezTo>
                  <a:cubicBezTo>
                    <a:pt x="798" y="1218"/>
                    <a:pt x="798" y="1218"/>
                    <a:pt x="798" y="1218"/>
                  </a:cubicBezTo>
                  <a:cubicBezTo>
                    <a:pt x="810" y="1218"/>
                    <a:pt x="820" y="1209"/>
                    <a:pt x="820" y="1196"/>
                  </a:cubicBezTo>
                  <a:close/>
                  <a:moveTo>
                    <a:pt x="947" y="1399"/>
                  </a:moveTo>
                  <a:cubicBezTo>
                    <a:pt x="947" y="1593"/>
                    <a:pt x="947" y="1593"/>
                    <a:pt x="947" y="1593"/>
                  </a:cubicBezTo>
                  <a:cubicBezTo>
                    <a:pt x="947" y="1599"/>
                    <a:pt x="943" y="1603"/>
                    <a:pt x="937" y="1603"/>
                  </a:cubicBezTo>
                  <a:cubicBezTo>
                    <a:pt x="327" y="1603"/>
                    <a:pt x="327" y="1603"/>
                    <a:pt x="327" y="1603"/>
                  </a:cubicBezTo>
                  <a:cubicBezTo>
                    <a:pt x="321" y="1603"/>
                    <a:pt x="317" y="1599"/>
                    <a:pt x="317" y="1593"/>
                  </a:cubicBezTo>
                  <a:cubicBezTo>
                    <a:pt x="317" y="1399"/>
                    <a:pt x="317" y="1399"/>
                    <a:pt x="317" y="1399"/>
                  </a:cubicBezTo>
                  <a:cubicBezTo>
                    <a:pt x="317" y="1393"/>
                    <a:pt x="321" y="1389"/>
                    <a:pt x="327" y="1389"/>
                  </a:cubicBezTo>
                  <a:cubicBezTo>
                    <a:pt x="937" y="1389"/>
                    <a:pt x="937" y="1389"/>
                    <a:pt x="937" y="1389"/>
                  </a:cubicBezTo>
                  <a:cubicBezTo>
                    <a:pt x="943" y="1389"/>
                    <a:pt x="947" y="1393"/>
                    <a:pt x="947" y="1399"/>
                  </a:cubicBezTo>
                  <a:close/>
                  <a:moveTo>
                    <a:pt x="478" y="1492"/>
                  </a:moveTo>
                  <a:cubicBezTo>
                    <a:pt x="478" y="1467"/>
                    <a:pt x="458" y="1446"/>
                    <a:pt x="433" y="1446"/>
                  </a:cubicBezTo>
                  <a:cubicBezTo>
                    <a:pt x="408" y="1446"/>
                    <a:pt x="387" y="1467"/>
                    <a:pt x="387" y="1492"/>
                  </a:cubicBezTo>
                  <a:cubicBezTo>
                    <a:pt x="387" y="1517"/>
                    <a:pt x="408" y="1537"/>
                    <a:pt x="433" y="1537"/>
                  </a:cubicBezTo>
                  <a:cubicBezTo>
                    <a:pt x="458" y="1537"/>
                    <a:pt x="478" y="1517"/>
                    <a:pt x="478" y="1492"/>
                  </a:cubicBezTo>
                  <a:close/>
                  <a:moveTo>
                    <a:pt x="820" y="1492"/>
                  </a:moveTo>
                  <a:cubicBezTo>
                    <a:pt x="820" y="1480"/>
                    <a:pt x="810" y="1470"/>
                    <a:pt x="798" y="1470"/>
                  </a:cubicBezTo>
                  <a:cubicBezTo>
                    <a:pt x="535" y="1470"/>
                    <a:pt x="535" y="1470"/>
                    <a:pt x="535" y="1470"/>
                  </a:cubicBezTo>
                  <a:cubicBezTo>
                    <a:pt x="522" y="1470"/>
                    <a:pt x="513" y="1480"/>
                    <a:pt x="513" y="1492"/>
                  </a:cubicBezTo>
                  <a:cubicBezTo>
                    <a:pt x="513" y="1504"/>
                    <a:pt x="522" y="1514"/>
                    <a:pt x="535" y="1514"/>
                  </a:cubicBezTo>
                  <a:cubicBezTo>
                    <a:pt x="798" y="1514"/>
                    <a:pt x="798" y="1514"/>
                    <a:pt x="798" y="1514"/>
                  </a:cubicBezTo>
                  <a:cubicBezTo>
                    <a:pt x="810" y="1514"/>
                    <a:pt x="820" y="1504"/>
                    <a:pt x="820" y="1492"/>
                  </a:cubicBezTo>
                  <a:close/>
                  <a:moveTo>
                    <a:pt x="947" y="1693"/>
                  </a:moveTo>
                  <a:cubicBezTo>
                    <a:pt x="947" y="1888"/>
                    <a:pt x="947" y="1888"/>
                    <a:pt x="947" y="1888"/>
                  </a:cubicBezTo>
                  <a:cubicBezTo>
                    <a:pt x="947" y="1893"/>
                    <a:pt x="943" y="1898"/>
                    <a:pt x="937" y="1898"/>
                  </a:cubicBezTo>
                  <a:cubicBezTo>
                    <a:pt x="327" y="1898"/>
                    <a:pt x="327" y="1898"/>
                    <a:pt x="327" y="1898"/>
                  </a:cubicBezTo>
                  <a:cubicBezTo>
                    <a:pt x="321" y="1898"/>
                    <a:pt x="317" y="1893"/>
                    <a:pt x="317" y="1888"/>
                  </a:cubicBezTo>
                  <a:cubicBezTo>
                    <a:pt x="317" y="1693"/>
                    <a:pt x="317" y="1693"/>
                    <a:pt x="317" y="1693"/>
                  </a:cubicBezTo>
                  <a:cubicBezTo>
                    <a:pt x="317" y="1688"/>
                    <a:pt x="321" y="1683"/>
                    <a:pt x="327" y="1683"/>
                  </a:cubicBezTo>
                  <a:cubicBezTo>
                    <a:pt x="937" y="1683"/>
                    <a:pt x="937" y="1683"/>
                    <a:pt x="937" y="1683"/>
                  </a:cubicBezTo>
                  <a:cubicBezTo>
                    <a:pt x="943" y="1683"/>
                    <a:pt x="947" y="1688"/>
                    <a:pt x="947" y="1693"/>
                  </a:cubicBezTo>
                  <a:close/>
                  <a:moveTo>
                    <a:pt x="478" y="1787"/>
                  </a:moveTo>
                  <a:cubicBezTo>
                    <a:pt x="478" y="1762"/>
                    <a:pt x="458" y="1741"/>
                    <a:pt x="433" y="1741"/>
                  </a:cubicBezTo>
                  <a:cubicBezTo>
                    <a:pt x="408" y="1741"/>
                    <a:pt x="387" y="1762"/>
                    <a:pt x="387" y="1787"/>
                  </a:cubicBezTo>
                  <a:cubicBezTo>
                    <a:pt x="387" y="1812"/>
                    <a:pt x="408" y="1832"/>
                    <a:pt x="433" y="1832"/>
                  </a:cubicBezTo>
                  <a:cubicBezTo>
                    <a:pt x="458" y="1832"/>
                    <a:pt x="478" y="1812"/>
                    <a:pt x="478" y="1787"/>
                  </a:cubicBezTo>
                  <a:close/>
                  <a:moveTo>
                    <a:pt x="820" y="1787"/>
                  </a:moveTo>
                  <a:cubicBezTo>
                    <a:pt x="820" y="1774"/>
                    <a:pt x="810" y="1765"/>
                    <a:pt x="798" y="1765"/>
                  </a:cubicBezTo>
                  <a:cubicBezTo>
                    <a:pt x="535" y="1765"/>
                    <a:pt x="535" y="1765"/>
                    <a:pt x="535" y="1765"/>
                  </a:cubicBezTo>
                  <a:cubicBezTo>
                    <a:pt x="522" y="1765"/>
                    <a:pt x="513" y="1774"/>
                    <a:pt x="513" y="1787"/>
                  </a:cubicBezTo>
                  <a:cubicBezTo>
                    <a:pt x="513" y="1799"/>
                    <a:pt x="522" y="1809"/>
                    <a:pt x="535" y="1809"/>
                  </a:cubicBezTo>
                  <a:cubicBezTo>
                    <a:pt x="798" y="1809"/>
                    <a:pt x="798" y="1809"/>
                    <a:pt x="798" y="1809"/>
                  </a:cubicBezTo>
                  <a:cubicBezTo>
                    <a:pt x="810" y="1809"/>
                    <a:pt x="820" y="1799"/>
                    <a:pt x="820" y="1787"/>
                  </a:cubicBezTo>
                  <a:close/>
                  <a:moveTo>
                    <a:pt x="1256" y="1168"/>
                  </a:moveTo>
                  <a:cubicBezTo>
                    <a:pt x="1079" y="1168"/>
                    <a:pt x="1079" y="1168"/>
                    <a:pt x="1079" y="1168"/>
                  </a:cubicBezTo>
                  <a:cubicBezTo>
                    <a:pt x="1079" y="1307"/>
                    <a:pt x="1079" y="1307"/>
                    <a:pt x="1079" y="1307"/>
                  </a:cubicBezTo>
                  <a:cubicBezTo>
                    <a:pt x="1256" y="1307"/>
                    <a:pt x="1256" y="1307"/>
                    <a:pt x="1256" y="1307"/>
                  </a:cubicBezTo>
                  <a:cubicBezTo>
                    <a:pt x="1262" y="1307"/>
                    <a:pt x="1266" y="1302"/>
                    <a:pt x="1266" y="1297"/>
                  </a:cubicBezTo>
                  <a:cubicBezTo>
                    <a:pt x="1266" y="1178"/>
                    <a:pt x="1266" y="1178"/>
                    <a:pt x="1266" y="1178"/>
                  </a:cubicBezTo>
                  <a:cubicBezTo>
                    <a:pt x="1266" y="1172"/>
                    <a:pt x="1262" y="1168"/>
                    <a:pt x="1256" y="1168"/>
                  </a:cubicBezTo>
                  <a:close/>
                  <a:moveTo>
                    <a:pt x="185" y="1168"/>
                  </a:moveTo>
                  <a:cubicBezTo>
                    <a:pt x="10" y="1168"/>
                    <a:pt x="10" y="1168"/>
                    <a:pt x="10" y="1168"/>
                  </a:cubicBezTo>
                  <a:cubicBezTo>
                    <a:pt x="4" y="1168"/>
                    <a:pt x="0" y="1172"/>
                    <a:pt x="0" y="1178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0" y="1302"/>
                    <a:pt x="4" y="1307"/>
                    <a:pt x="10" y="1307"/>
                  </a:cubicBezTo>
                  <a:cubicBezTo>
                    <a:pt x="185" y="1307"/>
                    <a:pt x="185" y="1307"/>
                    <a:pt x="185" y="1307"/>
                  </a:cubicBezTo>
                  <a:lnTo>
                    <a:pt x="185" y="1168"/>
                  </a:lnTo>
                  <a:close/>
                  <a:moveTo>
                    <a:pt x="185" y="1395"/>
                  </a:moveTo>
                  <a:cubicBezTo>
                    <a:pt x="10" y="1395"/>
                    <a:pt x="10" y="1395"/>
                    <a:pt x="10" y="1395"/>
                  </a:cubicBezTo>
                  <a:cubicBezTo>
                    <a:pt x="4" y="1395"/>
                    <a:pt x="0" y="1399"/>
                    <a:pt x="0" y="1405"/>
                  </a:cubicBezTo>
                  <a:cubicBezTo>
                    <a:pt x="0" y="1523"/>
                    <a:pt x="0" y="1523"/>
                    <a:pt x="0" y="1523"/>
                  </a:cubicBezTo>
                  <a:cubicBezTo>
                    <a:pt x="0" y="1529"/>
                    <a:pt x="4" y="1533"/>
                    <a:pt x="10" y="1533"/>
                  </a:cubicBezTo>
                  <a:cubicBezTo>
                    <a:pt x="185" y="1533"/>
                    <a:pt x="185" y="1533"/>
                    <a:pt x="185" y="1533"/>
                  </a:cubicBezTo>
                  <a:lnTo>
                    <a:pt x="185" y="1395"/>
                  </a:lnTo>
                  <a:close/>
                  <a:moveTo>
                    <a:pt x="1256" y="1395"/>
                  </a:moveTo>
                  <a:cubicBezTo>
                    <a:pt x="1079" y="1395"/>
                    <a:pt x="1079" y="1395"/>
                    <a:pt x="1079" y="1395"/>
                  </a:cubicBezTo>
                  <a:cubicBezTo>
                    <a:pt x="1079" y="1533"/>
                    <a:pt x="1079" y="1533"/>
                    <a:pt x="1079" y="1533"/>
                  </a:cubicBezTo>
                  <a:cubicBezTo>
                    <a:pt x="1256" y="1533"/>
                    <a:pt x="1256" y="1533"/>
                    <a:pt x="1256" y="1533"/>
                  </a:cubicBezTo>
                  <a:cubicBezTo>
                    <a:pt x="1262" y="1533"/>
                    <a:pt x="1266" y="1529"/>
                    <a:pt x="1266" y="1523"/>
                  </a:cubicBezTo>
                  <a:cubicBezTo>
                    <a:pt x="1266" y="1405"/>
                    <a:pt x="1266" y="1405"/>
                    <a:pt x="1266" y="1405"/>
                  </a:cubicBezTo>
                  <a:cubicBezTo>
                    <a:pt x="1266" y="1399"/>
                    <a:pt x="1262" y="1395"/>
                    <a:pt x="1256" y="1395"/>
                  </a:cubicBezTo>
                  <a:close/>
                  <a:moveTo>
                    <a:pt x="185" y="1620"/>
                  </a:moveTo>
                  <a:cubicBezTo>
                    <a:pt x="10" y="1620"/>
                    <a:pt x="10" y="1620"/>
                    <a:pt x="10" y="1620"/>
                  </a:cubicBezTo>
                  <a:cubicBezTo>
                    <a:pt x="4" y="1620"/>
                    <a:pt x="0" y="1624"/>
                    <a:pt x="0" y="1630"/>
                  </a:cubicBezTo>
                  <a:cubicBezTo>
                    <a:pt x="0" y="1749"/>
                    <a:pt x="0" y="1749"/>
                    <a:pt x="0" y="1749"/>
                  </a:cubicBezTo>
                  <a:cubicBezTo>
                    <a:pt x="0" y="1754"/>
                    <a:pt x="4" y="1759"/>
                    <a:pt x="10" y="1759"/>
                  </a:cubicBezTo>
                  <a:cubicBezTo>
                    <a:pt x="185" y="1759"/>
                    <a:pt x="185" y="1759"/>
                    <a:pt x="185" y="1759"/>
                  </a:cubicBezTo>
                  <a:lnTo>
                    <a:pt x="185" y="1620"/>
                  </a:lnTo>
                  <a:close/>
                  <a:moveTo>
                    <a:pt x="1256" y="1620"/>
                  </a:moveTo>
                  <a:cubicBezTo>
                    <a:pt x="1079" y="1620"/>
                    <a:pt x="1079" y="1620"/>
                    <a:pt x="1079" y="1620"/>
                  </a:cubicBezTo>
                  <a:cubicBezTo>
                    <a:pt x="1079" y="1759"/>
                    <a:pt x="1079" y="1759"/>
                    <a:pt x="1079" y="1759"/>
                  </a:cubicBezTo>
                  <a:cubicBezTo>
                    <a:pt x="1256" y="1759"/>
                    <a:pt x="1256" y="1759"/>
                    <a:pt x="1256" y="1759"/>
                  </a:cubicBezTo>
                  <a:cubicBezTo>
                    <a:pt x="1262" y="1759"/>
                    <a:pt x="1266" y="1754"/>
                    <a:pt x="1266" y="1749"/>
                  </a:cubicBezTo>
                  <a:cubicBezTo>
                    <a:pt x="1266" y="1630"/>
                    <a:pt x="1266" y="1630"/>
                    <a:pt x="1266" y="1630"/>
                  </a:cubicBezTo>
                  <a:cubicBezTo>
                    <a:pt x="1266" y="1624"/>
                    <a:pt x="1262" y="1620"/>
                    <a:pt x="1256" y="1620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grpSp>
        <p:nvGrpSpPr>
          <p:cNvPr id="181" name="Group 180"/>
          <p:cNvGrpSpPr>
            <a:grpSpLocks noChangeAspect="1"/>
          </p:cNvGrpSpPr>
          <p:nvPr/>
        </p:nvGrpSpPr>
        <p:grpSpPr>
          <a:xfrm>
            <a:off x="3615495" y="1383559"/>
            <a:ext cx="457200" cy="457200"/>
            <a:chOff x="5273675" y="2606675"/>
            <a:chExt cx="1646238" cy="1644650"/>
          </a:xfrm>
        </p:grpSpPr>
        <p:sp>
          <p:nvSpPr>
            <p:cNvPr id="18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5443538" y="2960688"/>
              <a:ext cx="1304925" cy="936625"/>
              <a:chOff x="5443538" y="2960688"/>
              <a:chExt cx="1304925" cy="936625"/>
            </a:xfrm>
          </p:grpSpPr>
          <p:sp>
            <p:nvSpPr>
              <p:cNvPr id="184" name="Freeform 5"/>
              <p:cNvSpPr>
                <a:spLocks/>
              </p:cNvSpPr>
              <p:nvPr/>
            </p:nvSpPr>
            <p:spPr bwMode="auto">
              <a:xfrm>
                <a:off x="5443538" y="2960688"/>
                <a:ext cx="1304925" cy="936625"/>
              </a:xfrm>
              <a:custGeom>
                <a:avLst/>
                <a:gdLst>
                  <a:gd name="T0" fmla="*/ 1806 w 1828"/>
                  <a:gd name="T1" fmla="*/ 0 h 1313"/>
                  <a:gd name="T2" fmla="*/ 1123 w 1828"/>
                  <a:gd name="T3" fmla="*/ 0 h 1313"/>
                  <a:gd name="T4" fmla="*/ 1123 w 1828"/>
                  <a:gd name="T5" fmla="*/ 1 h 1313"/>
                  <a:gd name="T6" fmla="*/ 1123 w 1828"/>
                  <a:gd name="T7" fmla="*/ 44 h 1313"/>
                  <a:gd name="T8" fmla="*/ 1784 w 1828"/>
                  <a:gd name="T9" fmla="*/ 44 h 1313"/>
                  <a:gd name="T10" fmla="*/ 1784 w 1828"/>
                  <a:gd name="T11" fmla="*/ 1269 h 1313"/>
                  <a:gd name="T12" fmla="*/ 44 w 1828"/>
                  <a:gd name="T13" fmla="*/ 1269 h 1313"/>
                  <a:gd name="T14" fmla="*/ 44 w 1828"/>
                  <a:gd name="T15" fmla="*/ 44 h 1313"/>
                  <a:gd name="T16" fmla="*/ 705 w 1828"/>
                  <a:gd name="T17" fmla="*/ 44 h 1313"/>
                  <a:gd name="T18" fmla="*/ 705 w 1828"/>
                  <a:gd name="T19" fmla="*/ 1 h 1313"/>
                  <a:gd name="T20" fmla="*/ 705 w 1828"/>
                  <a:gd name="T21" fmla="*/ 0 h 1313"/>
                  <a:gd name="T22" fmla="*/ 22 w 1828"/>
                  <a:gd name="T23" fmla="*/ 0 h 1313"/>
                  <a:gd name="T24" fmla="*/ 0 w 1828"/>
                  <a:gd name="T25" fmla="*/ 22 h 1313"/>
                  <a:gd name="T26" fmla="*/ 0 w 1828"/>
                  <a:gd name="T27" fmla="*/ 1291 h 1313"/>
                  <a:gd name="T28" fmla="*/ 22 w 1828"/>
                  <a:gd name="T29" fmla="*/ 1313 h 1313"/>
                  <a:gd name="T30" fmla="*/ 1806 w 1828"/>
                  <a:gd name="T31" fmla="*/ 1313 h 1313"/>
                  <a:gd name="T32" fmla="*/ 1828 w 1828"/>
                  <a:gd name="T33" fmla="*/ 1291 h 1313"/>
                  <a:gd name="T34" fmla="*/ 1828 w 1828"/>
                  <a:gd name="T35" fmla="*/ 22 h 1313"/>
                  <a:gd name="T36" fmla="*/ 1806 w 1828"/>
                  <a:gd name="T37" fmla="*/ 0 h 1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28" h="1313">
                    <a:moveTo>
                      <a:pt x="1806" y="0"/>
                    </a:move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1"/>
                      <a:pt x="1123" y="1"/>
                      <a:pt x="1123" y="1"/>
                    </a:cubicBezTo>
                    <a:cubicBezTo>
                      <a:pt x="1123" y="44"/>
                      <a:pt x="1123" y="44"/>
                      <a:pt x="1123" y="44"/>
                    </a:cubicBezTo>
                    <a:cubicBezTo>
                      <a:pt x="1784" y="44"/>
                      <a:pt x="1784" y="44"/>
                      <a:pt x="1784" y="44"/>
                    </a:cubicBezTo>
                    <a:cubicBezTo>
                      <a:pt x="1784" y="1269"/>
                      <a:pt x="1784" y="1269"/>
                      <a:pt x="1784" y="1269"/>
                    </a:cubicBezTo>
                    <a:cubicBezTo>
                      <a:pt x="44" y="1269"/>
                      <a:pt x="44" y="1269"/>
                      <a:pt x="44" y="1269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705" y="44"/>
                      <a:pt x="705" y="44"/>
                      <a:pt x="705" y="44"/>
                    </a:cubicBezTo>
                    <a:cubicBezTo>
                      <a:pt x="705" y="1"/>
                      <a:pt x="705" y="1"/>
                      <a:pt x="705" y="1"/>
                    </a:cubicBezTo>
                    <a:cubicBezTo>
                      <a:pt x="705" y="0"/>
                      <a:pt x="705" y="0"/>
                      <a:pt x="70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291"/>
                      <a:pt x="0" y="1291"/>
                      <a:pt x="0" y="1291"/>
                    </a:cubicBezTo>
                    <a:cubicBezTo>
                      <a:pt x="0" y="1303"/>
                      <a:pt x="10" y="1313"/>
                      <a:pt x="22" y="1313"/>
                    </a:cubicBezTo>
                    <a:cubicBezTo>
                      <a:pt x="1806" y="1313"/>
                      <a:pt x="1806" y="1313"/>
                      <a:pt x="1806" y="1313"/>
                    </a:cubicBezTo>
                    <a:cubicBezTo>
                      <a:pt x="1818" y="1313"/>
                      <a:pt x="1828" y="1303"/>
                      <a:pt x="1828" y="1291"/>
                    </a:cubicBezTo>
                    <a:cubicBezTo>
                      <a:pt x="1828" y="22"/>
                      <a:pt x="1828" y="22"/>
                      <a:pt x="1828" y="22"/>
                    </a:cubicBezTo>
                    <a:cubicBezTo>
                      <a:pt x="1828" y="10"/>
                      <a:pt x="1818" y="0"/>
                      <a:pt x="1806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85" name="Freeform 184"/>
              <p:cNvSpPr>
                <a:spLocks/>
              </p:cNvSpPr>
              <p:nvPr/>
            </p:nvSpPr>
            <p:spPr bwMode="auto">
              <a:xfrm>
                <a:off x="5538788" y="2962274"/>
                <a:ext cx="1108419" cy="846138"/>
              </a:xfrm>
              <a:custGeom>
                <a:avLst/>
                <a:gdLst>
                  <a:gd name="connsiteX0" fmla="*/ 15729 w 1108419"/>
                  <a:gd name="connsiteY0" fmla="*/ 814388 h 846138"/>
                  <a:gd name="connsiteX1" fmla="*/ 172310 w 1108419"/>
                  <a:gd name="connsiteY1" fmla="*/ 814388 h 846138"/>
                  <a:gd name="connsiteX2" fmla="*/ 187325 w 1108419"/>
                  <a:gd name="connsiteY2" fmla="*/ 830632 h 846138"/>
                  <a:gd name="connsiteX3" fmla="*/ 172310 w 1108419"/>
                  <a:gd name="connsiteY3" fmla="*/ 846138 h 846138"/>
                  <a:gd name="connsiteX4" fmla="*/ 15729 w 1108419"/>
                  <a:gd name="connsiteY4" fmla="*/ 846138 h 846138"/>
                  <a:gd name="connsiteX5" fmla="*/ 0 w 1108419"/>
                  <a:gd name="connsiteY5" fmla="*/ 830632 h 846138"/>
                  <a:gd name="connsiteX6" fmla="*/ 15729 w 1108419"/>
                  <a:gd name="connsiteY6" fmla="*/ 814388 h 846138"/>
                  <a:gd name="connsiteX7" fmla="*/ 15772 w 1108419"/>
                  <a:gd name="connsiteY7" fmla="*/ 755650 h 846138"/>
                  <a:gd name="connsiteX8" fmla="*/ 296095 w 1108419"/>
                  <a:gd name="connsiteY8" fmla="*/ 755650 h 846138"/>
                  <a:gd name="connsiteX9" fmla="*/ 311150 w 1108419"/>
                  <a:gd name="connsiteY9" fmla="*/ 771082 h 846138"/>
                  <a:gd name="connsiteX10" fmla="*/ 296095 w 1108419"/>
                  <a:gd name="connsiteY10" fmla="*/ 785813 h 846138"/>
                  <a:gd name="connsiteX11" fmla="*/ 15772 w 1108419"/>
                  <a:gd name="connsiteY11" fmla="*/ 785813 h 846138"/>
                  <a:gd name="connsiteX12" fmla="*/ 0 w 1108419"/>
                  <a:gd name="connsiteY12" fmla="*/ 771082 h 846138"/>
                  <a:gd name="connsiteX13" fmla="*/ 15772 w 1108419"/>
                  <a:gd name="connsiteY13" fmla="*/ 755650 h 846138"/>
                  <a:gd name="connsiteX14" fmla="*/ 15795 w 1108419"/>
                  <a:gd name="connsiteY14" fmla="*/ 695325 h 846138"/>
                  <a:gd name="connsiteX15" fmla="*/ 269955 w 1108419"/>
                  <a:gd name="connsiteY15" fmla="*/ 695325 h 846138"/>
                  <a:gd name="connsiteX16" fmla="*/ 285750 w 1108419"/>
                  <a:gd name="connsiteY16" fmla="*/ 710757 h 846138"/>
                  <a:gd name="connsiteX17" fmla="*/ 269955 w 1108419"/>
                  <a:gd name="connsiteY17" fmla="*/ 725488 h 846138"/>
                  <a:gd name="connsiteX18" fmla="*/ 15795 w 1108419"/>
                  <a:gd name="connsiteY18" fmla="*/ 725488 h 846138"/>
                  <a:gd name="connsiteX19" fmla="*/ 0 w 1108419"/>
                  <a:gd name="connsiteY19" fmla="*/ 710757 h 846138"/>
                  <a:gd name="connsiteX20" fmla="*/ 15795 w 1108419"/>
                  <a:gd name="connsiteY20" fmla="*/ 695325 h 846138"/>
                  <a:gd name="connsiteX21" fmla="*/ 1022350 w 1108419"/>
                  <a:gd name="connsiteY21" fmla="*/ 657225 h 846138"/>
                  <a:gd name="connsiteX22" fmla="*/ 1025189 w 1108419"/>
                  <a:gd name="connsiteY22" fmla="*/ 657941 h 846138"/>
                  <a:gd name="connsiteX23" fmla="*/ 1028029 w 1108419"/>
                  <a:gd name="connsiteY23" fmla="*/ 658656 h 846138"/>
                  <a:gd name="connsiteX24" fmla="*/ 1028738 w 1108419"/>
                  <a:gd name="connsiteY24" fmla="*/ 658656 h 846138"/>
                  <a:gd name="connsiteX25" fmla="*/ 1030868 w 1108419"/>
                  <a:gd name="connsiteY25" fmla="*/ 659372 h 846138"/>
                  <a:gd name="connsiteX26" fmla="*/ 1033707 w 1108419"/>
                  <a:gd name="connsiteY26" fmla="*/ 661519 h 846138"/>
                  <a:gd name="connsiteX27" fmla="*/ 1104693 w 1108419"/>
                  <a:gd name="connsiteY27" fmla="*/ 733077 h 846138"/>
                  <a:gd name="connsiteX28" fmla="*/ 1104693 w 1108419"/>
                  <a:gd name="connsiteY28" fmla="*/ 754544 h 846138"/>
                  <a:gd name="connsiteX29" fmla="*/ 1093336 w 1108419"/>
                  <a:gd name="connsiteY29" fmla="*/ 758837 h 846138"/>
                  <a:gd name="connsiteX30" fmla="*/ 1082688 w 1108419"/>
                  <a:gd name="connsiteY30" fmla="*/ 754544 h 846138"/>
                  <a:gd name="connsiteX31" fmla="*/ 1037967 w 1108419"/>
                  <a:gd name="connsiteY31" fmla="*/ 709462 h 846138"/>
                  <a:gd name="connsiteX32" fmla="*/ 1037967 w 1108419"/>
                  <a:gd name="connsiteY32" fmla="*/ 831111 h 846138"/>
                  <a:gd name="connsiteX33" fmla="*/ 1022350 w 1108419"/>
                  <a:gd name="connsiteY33" fmla="*/ 846138 h 846138"/>
                  <a:gd name="connsiteX34" fmla="*/ 1007443 w 1108419"/>
                  <a:gd name="connsiteY34" fmla="*/ 831111 h 846138"/>
                  <a:gd name="connsiteX35" fmla="*/ 1007443 w 1108419"/>
                  <a:gd name="connsiteY35" fmla="*/ 709462 h 846138"/>
                  <a:gd name="connsiteX36" fmla="*/ 962722 w 1108419"/>
                  <a:gd name="connsiteY36" fmla="*/ 754544 h 846138"/>
                  <a:gd name="connsiteX37" fmla="*/ 941426 w 1108419"/>
                  <a:gd name="connsiteY37" fmla="*/ 754544 h 846138"/>
                  <a:gd name="connsiteX38" fmla="*/ 941426 w 1108419"/>
                  <a:gd name="connsiteY38" fmla="*/ 733077 h 846138"/>
                  <a:gd name="connsiteX39" fmla="*/ 1012412 w 1108419"/>
                  <a:gd name="connsiteY39" fmla="*/ 661519 h 846138"/>
                  <a:gd name="connsiteX40" fmla="*/ 1014541 w 1108419"/>
                  <a:gd name="connsiteY40" fmla="*/ 659372 h 846138"/>
                  <a:gd name="connsiteX41" fmla="*/ 1016671 w 1108419"/>
                  <a:gd name="connsiteY41" fmla="*/ 658656 h 846138"/>
                  <a:gd name="connsiteX42" fmla="*/ 1019510 w 1108419"/>
                  <a:gd name="connsiteY42" fmla="*/ 657941 h 846138"/>
                  <a:gd name="connsiteX43" fmla="*/ 1022350 w 1108419"/>
                  <a:gd name="connsiteY43" fmla="*/ 657225 h 846138"/>
                  <a:gd name="connsiteX44" fmla="*/ 198437 w 1108419"/>
                  <a:gd name="connsiteY44" fmla="*/ 471488 h 846138"/>
                  <a:gd name="connsiteX45" fmla="*/ 263525 w 1108419"/>
                  <a:gd name="connsiteY45" fmla="*/ 471488 h 846138"/>
                  <a:gd name="connsiteX46" fmla="*/ 263525 w 1108419"/>
                  <a:gd name="connsiteY46" fmla="*/ 505234 h 846138"/>
                  <a:gd name="connsiteX47" fmla="*/ 247790 w 1108419"/>
                  <a:gd name="connsiteY47" fmla="*/ 520701 h 846138"/>
                  <a:gd name="connsiteX48" fmla="*/ 198437 w 1108419"/>
                  <a:gd name="connsiteY48" fmla="*/ 520701 h 846138"/>
                  <a:gd name="connsiteX49" fmla="*/ 198437 w 1108419"/>
                  <a:gd name="connsiteY49" fmla="*/ 471488 h 846138"/>
                  <a:gd name="connsiteX50" fmla="*/ 1587 w 1108419"/>
                  <a:gd name="connsiteY50" fmla="*/ 471488 h 846138"/>
                  <a:gd name="connsiteX51" fmla="*/ 166687 w 1108419"/>
                  <a:gd name="connsiteY51" fmla="*/ 471488 h 846138"/>
                  <a:gd name="connsiteX52" fmla="*/ 166687 w 1108419"/>
                  <a:gd name="connsiteY52" fmla="*/ 520701 h 846138"/>
                  <a:gd name="connsiteX53" fmla="*/ 17311 w 1108419"/>
                  <a:gd name="connsiteY53" fmla="*/ 520701 h 846138"/>
                  <a:gd name="connsiteX54" fmla="*/ 1587 w 1108419"/>
                  <a:gd name="connsiteY54" fmla="*/ 505234 h 846138"/>
                  <a:gd name="connsiteX55" fmla="*/ 1587 w 1108419"/>
                  <a:gd name="connsiteY55" fmla="*/ 471488 h 846138"/>
                  <a:gd name="connsiteX56" fmla="*/ 198437 w 1108419"/>
                  <a:gd name="connsiteY56" fmla="*/ 390525 h 846138"/>
                  <a:gd name="connsiteX57" fmla="*/ 247790 w 1108419"/>
                  <a:gd name="connsiteY57" fmla="*/ 390525 h 846138"/>
                  <a:gd name="connsiteX58" fmla="*/ 263525 w 1108419"/>
                  <a:gd name="connsiteY58" fmla="*/ 406216 h 846138"/>
                  <a:gd name="connsiteX59" fmla="*/ 263525 w 1108419"/>
                  <a:gd name="connsiteY59" fmla="*/ 439738 h 846138"/>
                  <a:gd name="connsiteX60" fmla="*/ 198437 w 1108419"/>
                  <a:gd name="connsiteY60" fmla="*/ 439738 h 846138"/>
                  <a:gd name="connsiteX61" fmla="*/ 198437 w 1108419"/>
                  <a:gd name="connsiteY61" fmla="*/ 390525 h 846138"/>
                  <a:gd name="connsiteX62" fmla="*/ 17311 w 1108419"/>
                  <a:gd name="connsiteY62" fmla="*/ 390525 h 846138"/>
                  <a:gd name="connsiteX63" fmla="*/ 166687 w 1108419"/>
                  <a:gd name="connsiteY63" fmla="*/ 390525 h 846138"/>
                  <a:gd name="connsiteX64" fmla="*/ 166687 w 1108419"/>
                  <a:gd name="connsiteY64" fmla="*/ 439738 h 846138"/>
                  <a:gd name="connsiteX65" fmla="*/ 1587 w 1108419"/>
                  <a:gd name="connsiteY65" fmla="*/ 439738 h 846138"/>
                  <a:gd name="connsiteX66" fmla="*/ 1587 w 1108419"/>
                  <a:gd name="connsiteY66" fmla="*/ 406216 h 846138"/>
                  <a:gd name="connsiteX67" fmla="*/ 17311 w 1108419"/>
                  <a:gd name="connsiteY67" fmla="*/ 390525 h 846138"/>
                  <a:gd name="connsiteX68" fmla="*/ 439737 w 1108419"/>
                  <a:gd name="connsiteY68" fmla="*/ 0 h 846138"/>
                  <a:gd name="connsiteX69" fmla="*/ 446857 w 1108419"/>
                  <a:gd name="connsiteY69" fmla="*/ 0 h 846138"/>
                  <a:gd name="connsiteX70" fmla="*/ 667568 w 1108419"/>
                  <a:gd name="connsiteY70" fmla="*/ 0 h 846138"/>
                  <a:gd name="connsiteX71" fmla="*/ 674687 w 1108419"/>
                  <a:gd name="connsiteY71" fmla="*/ 0 h 846138"/>
                  <a:gd name="connsiteX72" fmla="*/ 674687 w 1108419"/>
                  <a:gd name="connsiteY72" fmla="*/ 30490 h 846138"/>
                  <a:gd name="connsiteX73" fmla="*/ 674687 w 1108419"/>
                  <a:gd name="connsiteY73" fmla="*/ 204216 h 846138"/>
                  <a:gd name="connsiteX74" fmla="*/ 668991 w 1108419"/>
                  <a:gd name="connsiteY74" fmla="*/ 209179 h 846138"/>
                  <a:gd name="connsiteX75" fmla="*/ 666144 w 1108419"/>
                  <a:gd name="connsiteY75" fmla="*/ 208470 h 846138"/>
                  <a:gd name="connsiteX76" fmla="*/ 641225 w 1108419"/>
                  <a:gd name="connsiteY76" fmla="*/ 194998 h 846138"/>
                  <a:gd name="connsiteX77" fmla="*/ 638377 w 1108419"/>
                  <a:gd name="connsiteY77" fmla="*/ 194289 h 846138"/>
                  <a:gd name="connsiteX78" fmla="*/ 635529 w 1108419"/>
                  <a:gd name="connsiteY78" fmla="*/ 194998 h 846138"/>
                  <a:gd name="connsiteX79" fmla="*/ 603490 w 1108419"/>
                  <a:gd name="connsiteY79" fmla="*/ 212016 h 846138"/>
                  <a:gd name="connsiteX80" fmla="*/ 600642 w 1108419"/>
                  <a:gd name="connsiteY80" fmla="*/ 212725 h 846138"/>
                  <a:gd name="connsiteX81" fmla="*/ 597795 w 1108419"/>
                  <a:gd name="connsiteY81" fmla="*/ 212016 h 846138"/>
                  <a:gd name="connsiteX82" fmla="*/ 560060 w 1108419"/>
                  <a:gd name="connsiteY82" fmla="*/ 194998 h 846138"/>
                  <a:gd name="connsiteX83" fmla="*/ 557212 w 1108419"/>
                  <a:gd name="connsiteY83" fmla="*/ 194289 h 846138"/>
                  <a:gd name="connsiteX84" fmla="*/ 554364 w 1108419"/>
                  <a:gd name="connsiteY84" fmla="*/ 194998 h 846138"/>
                  <a:gd name="connsiteX85" fmla="*/ 517342 w 1108419"/>
                  <a:gd name="connsiteY85" fmla="*/ 212016 h 846138"/>
                  <a:gd name="connsiteX86" fmla="*/ 515206 w 1108419"/>
                  <a:gd name="connsiteY86" fmla="*/ 212725 h 846138"/>
                  <a:gd name="connsiteX87" fmla="*/ 511646 w 1108419"/>
                  <a:gd name="connsiteY87" fmla="*/ 212016 h 846138"/>
                  <a:gd name="connsiteX88" fmla="*/ 478896 w 1108419"/>
                  <a:gd name="connsiteY88" fmla="*/ 194998 h 846138"/>
                  <a:gd name="connsiteX89" fmla="*/ 476760 w 1108419"/>
                  <a:gd name="connsiteY89" fmla="*/ 194289 h 846138"/>
                  <a:gd name="connsiteX90" fmla="*/ 473912 w 1108419"/>
                  <a:gd name="connsiteY90" fmla="*/ 194998 h 846138"/>
                  <a:gd name="connsiteX91" fmla="*/ 448281 w 1108419"/>
                  <a:gd name="connsiteY91" fmla="*/ 208470 h 846138"/>
                  <a:gd name="connsiteX92" fmla="*/ 444721 w 1108419"/>
                  <a:gd name="connsiteY92" fmla="*/ 209179 h 846138"/>
                  <a:gd name="connsiteX93" fmla="*/ 439737 w 1108419"/>
                  <a:gd name="connsiteY93" fmla="*/ 204216 h 846138"/>
                  <a:gd name="connsiteX94" fmla="*/ 439737 w 1108419"/>
                  <a:gd name="connsiteY94" fmla="*/ 30490 h 846138"/>
                  <a:gd name="connsiteX95" fmla="*/ 439737 w 1108419"/>
                  <a:gd name="connsiteY95" fmla="*/ 0 h 846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1108419" h="846138">
                    <a:moveTo>
                      <a:pt x="15729" y="814388"/>
                    </a:moveTo>
                    <a:cubicBezTo>
                      <a:pt x="15729" y="814388"/>
                      <a:pt x="15729" y="814388"/>
                      <a:pt x="172310" y="814388"/>
                    </a:cubicBezTo>
                    <a:cubicBezTo>
                      <a:pt x="180175" y="814388"/>
                      <a:pt x="187325" y="821772"/>
                      <a:pt x="187325" y="830632"/>
                    </a:cubicBezTo>
                    <a:cubicBezTo>
                      <a:pt x="187325" y="839493"/>
                      <a:pt x="180175" y="846138"/>
                      <a:pt x="172310" y="846138"/>
                    </a:cubicBezTo>
                    <a:cubicBezTo>
                      <a:pt x="172310" y="846138"/>
                      <a:pt x="172310" y="846138"/>
                      <a:pt x="15729" y="846138"/>
                    </a:cubicBezTo>
                    <a:cubicBezTo>
                      <a:pt x="7150" y="846138"/>
                      <a:pt x="0" y="839493"/>
                      <a:pt x="0" y="830632"/>
                    </a:cubicBezTo>
                    <a:cubicBezTo>
                      <a:pt x="0" y="821772"/>
                      <a:pt x="7150" y="814388"/>
                      <a:pt x="15729" y="814388"/>
                    </a:cubicBezTo>
                    <a:close/>
                    <a:moveTo>
                      <a:pt x="15772" y="755650"/>
                    </a:moveTo>
                    <a:cubicBezTo>
                      <a:pt x="15772" y="755650"/>
                      <a:pt x="15772" y="755650"/>
                      <a:pt x="296095" y="755650"/>
                    </a:cubicBezTo>
                    <a:cubicBezTo>
                      <a:pt x="303981" y="755650"/>
                      <a:pt x="311150" y="762665"/>
                      <a:pt x="311150" y="771082"/>
                    </a:cubicBezTo>
                    <a:cubicBezTo>
                      <a:pt x="311150" y="779500"/>
                      <a:pt x="303981" y="785813"/>
                      <a:pt x="296095" y="785813"/>
                    </a:cubicBezTo>
                    <a:cubicBezTo>
                      <a:pt x="296095" y="785813"/>
                      <a:pt x="296095" y="785813"/>
                      <a:pt x="15772" y="785813"/>
                    </a:cubicBezTo>
                    <a:cubicBezTo>
                      <a:pt x="7169" y="785813"/>
                      <a:pt x="0" y="779500"/>
                      <a:pt x="0" y="771082"/>
                    </a:cubicBezTo>
                    <a:cubicBezTo>
                      <a:pt x="0" y="762665"/>
                      <a:pt x="7169" y="755650"/>
                      <a:pt x="15772" y="755650"/>
                    </a:cubicBezTo>
                    <a:close/>
                    <a:moveTo>
                      <a:pt x="15795" y="695325"/>
                    </a:moveTo>
                    <a:cubicBezTo>
                      <a:pt x="15795" y="695325"/>
                      <a:pt x="15795" y="695325"/>
                      <a:pt x="269955" y="695325"/>
                    </a:cubicBezTo>
                    <a:cubicBezTo>
                      <a:pt x="278571" y="695325"/>
                      <a:pt x="285750" y="702340"/>
                      <a:pt x="285750" y="710757"/>
                    </a:cubicBezTo>
                    <a:cubicBezTo>
                      <a:pt x="285750" y="719876"/>
                      <a:pt x="278571" y="725488"/>
                      <a:pt x="269955" y="725488"/>
                    </a:cubicBezTo>
                    <a:cubicBezTo>
                      <a:pt x="269955" y="725488"/>
                      <a:pt x="269955" y="725488"/>
                      <a:pt x="15795" y="725488"/>
                    </a:cubicBezTo>
                    <a:cubicBezTo>
                      <a:pt x="7179" y="725488"/>
                      <a:pt x="0" y="719876"/>
                      <a:pt x="0" y="710757"/>
                    </a:cubicBezTo>
                    <a:cubicBezTo>
                      <a:pt x="0" y="702340"/>
                      <a:pt x="7179" y="695325"/>
                      <a:pt x="15795" y="695325"/>
                    </a:cubicBezTo>
                    <a:close/>
                    <a:moveTo>
                      <a:pt x="1022350" y="657225"/>
                    </a:moveTo>
                    <a:cubicBezTo>
                      <a:pt x="1023769" y="657225"/>
                      <a:pt x="1024479" y="657225"/>
                      <a:pt x="1025189" y="657941"/>
                    </a:cubicBezTo>
                    <a:cubicBezTo>
                      <a:pt x="1026609" y="657941"/>
                      <a:pt x="1027319" y="657941"/>
                      <a:pt x="1028029" y="658656"/>
                    </a:cubicBezTo>
                    <a:cubicBezTo>
                      <a:pt x="1028029" y="658656"/>
                      <a:pt x="1028029" y="658656"/>
                      <a:pt x="1028738" y="658656"/>
                    </a:cubicBezTo>
                    <a:cubicBezTo>
                      <a:pt x="1029448" y="658656"/>
                      <a:pt x="1030158" y="659372"/>
                      <a:pt x="1030868" y="659372"/>
                    </a:cubicBezTo>
                    <a:cubicBezTo>
                      <a:pt x="1032288" y="660087"/>
                      <a:pt x="1032998" y="660803"/>
                      <a:pt x="1033707" y="661519"/>
                    </a:cubicBezTo>
                    <a:cubicBezTo>
                      <a:pt x="1104693" y="733077"/>
                      <a:pt x="1104693" y="733077"/>
                      <a:pt x="1104693" y="733077"/>
                    </a:cubicBezTo>
                    <a:cubicBezTo>
                      <a:pt x="1109662" y="738801"/>
                      <a:pt x="1109662" y="748819"/>
                      <a:pt x="1104693" y="754544"/>
                    </a:cubicBezTo>
                    <a:cubicBezTo>
                      <a:pt x="1101854" y="757406"/>
                      <a:pt x="1097595" y="758837"/>
                      <a:pt x="1093336" y="758837"/>
                    </a:cubicBezTo>
                    <a:cubicBezTo>
                      <a:pt x="1089786" y="758837"/>
                      <a:pt x="1085527" y="757406"/>
                      <a:pt x="1082688" y="754544"/>
                    </a:cubicBezTo>
                    <a:cubicBezTo>
                      <a:pt x="1037967" y="709462"/>
                      <a:pt x="1037967" y="709462"/>
                      <a:pt x="1037967" y="709462"/>
                    </a:cubicBezTo>
                    <a:cubicBezTo>
                      <a:pt x="1037967" y="831111"/>
                      <a:pt x="1037967" y="831111"/>
                      <a:pt x="1037967" y="831111"/>
                    </a:cubicBezTo>
                    <a:cubicBezTo>
                      <a:pt x="1037967" y="839698"/>
                      <a:pt x="1030868" y="846138"/>
                      <a:pt x="1022350" y="846138"/>
                    </a:cubicBezTo>
                    <a:cubicBezTo>
                      <a:pt x="1014541" y="846138"/>
                      <a:pt x="1007443" y="839698"/>
                      <a:pt x="1007443" y="831111"/>
                    </a:cubicBezTo>
                    <a:cubicBezTo>
                      <a:pt x="1007443" y="709462"/>
                      <a:pt x="1007443" y="709462"/>
                      <a:pt x="1007443" y="709462"/>
                    </a:cubicBezTo>
                    <a:cubicBezTo>
                      <a:pt x="962722" y="754544"/>
                      <a:pt x="962722" y="754544"/>
                      <a:pt x="962722" y="754544"/>
                    </a:cubicBezTo>
                    <a:cubicBezTo>
                      <a:pt x="957043" y="760984"/>
                      <a:pt x="947105" y="760984"/>
                      <a:pt x="941426" y="754544"/>
                    </a:cubicBezTo>
                    <a:cubicBezTo>
                      <a:pt x="935037" y="748819"/>
                      <a:pt x="935037" y="738801"/>
                      <a:pt x="941426" y="733077"/>
                    </a:cubicBezTo>
                    <a:cubicBezTo>
                      <a:pt x="1012412" y="661519"/>
                      <a:pt x="1012412" y="661519"/>
                      <a:pt x="1012412" y="661519"/>
                    </a:cubicBezTo>
                    <a:cubicBezTo>
                      <a:pt x="1013122" y="660803"/>
                      <a:pt x="1013831" y="660087"/>
                      <a:pt x="1014541" y="659372"/>
                    </a:cubicBezTo>
                    <a:cubicBezTo>
                      <a:pt x="1015251" y="659372"/>
                      <a:pt x="1016671" y="658656"/>
                      <a:pt x="1016671" y="658656"/>
                    </a:cubicBezTo>
                    <a:cubicBezTo>
                      <a:pt x="1017381" y="657941"/>
                      <a:pt x="1018800" y="657941"/>
                      <a:pt x="1019510" y="657941"/>
                    </a:cubicBezTo>
                    <a:cubicBezTo>
                      <a:pt x="1020220" y="657225"/>
                      <a:pt x="1021640" y="657225"/>
                      <a:pt x="1022350" y="657225"/>
                    </a:cubicBezTo>
                    <a:close/>
                    <a:moveTo>
                      <a:pt x="198437" y="471488"/>
                    </a:moveTo>
                    <a:cubicBezTo>
                      <a:pt x="198437" y="471488"/>
                      <a:pt x="198437" y="471488"/>
                      <a:pt x="263525" y="471488"/>
                    </a:cubicBezTo>
                    <a:cubicBezTo>
                      <a:pt x="263525" y="471488"/>
                      <a:pt x="263525" y="471488"/>
                      <a:pt x="263525" y="505234"/>
                    </a:cubicBezTo>
                    <a:cubicBezTo>
                      <a:pt x="263525" y="513671"/>
                      <a:pt x="256373" y="520701"/>
                      <a:pt x="247790" y="520701"/>
                    </a:cubicBezTo>
                    <a:cubicBezTo>
                      <a:pt x="247790" y="520701"/>
                      <a:pt x="247790" y="520701"/>
                      <a:pt x="198437" y="520701"/>
                    </a:cubicBezTo>
                    <a:cubicBezTo>
                      <a:pt x="198437" y="520701"/>
                      <a:pt x="198437" y="520701"/>
                      <a:pt x="198437" y="471488"/>
                    </a:cubicBezTo>
                    <a:close/>
                    <a:moveTo>
                      <a:pt x="1587" y="471488"/>
                    </a:moveTo>
                    <a:cubicBezTo>
                      <a:pt x="1587" y="471488"/>
                      <a:pt x="1587" y="471488"/>
                      <a:pt x="166687" y="471488"/>
                    </a:cubicBezTo>
                    <a:cubicBezTo>
                      <a:pt x="166687" y="471488"/>
                      <a:pt x="166687" y="471488"/>
                      <a:pt x="166687" y="520701"/>
                    </a:cubicBezTo>
                    <a:cubicBezTo>
                      <a:pt x="166687" y="520701"/>
                      <a:pt x="166687" y="520701"/>
                      <a:pt x="17311" y="520701"/>
                    </a:cubicBezTo>
                    <a:cubicBezTo>
                      <a:pt x="8734" y="520701"/>
                      <a:pt x="1587" y="513671"/>
                      <a:pt x="1587" y="505234"/>
                    </a:cubicBezTo>
                    <a:cubicBezTo>
                      <a:pt x="1587" y="505234"/>
                      <a:pt x="1587" y="505234"/>
                      <a:pt x="1587" y="471488"/>
                    </a:cubicBezTo>
                    <a:close/>
                    <a:moveTo>
                      <a:pt x="198437" y="390525"/>
                    </a:moveTo>
                    <a:cubicBezTo>
                      <a:pt x="198437" y="390525"/>
                      <a:pt x="198437" y="390525"/>
                      <a:pt x="247790" y="390525"/>
                    </a:cubicBezTo>
                    <a:cubicBezTo>
                      <a:pt x="256373" y="390525"/>
                      <a:pt x="263525" y="397657"/>
                      <a:pt x="263525" y="406216"/>
                    </a:cubicBezTo>
                    <a:lnTo>
                      <a:pt x="263525" y="439738"/>
                    </a:lnTo>
                    <a:cubicBezTo>
                      <a:pt x="263525" y="439738"/>
                      <a:pt x="263525" y="439738"/>
                      <a:pt x="198437" y="439738"/>
                    </a:cubicBezTo>
                    <a:cubicBezTo>
                      <a:pt x="198437" y="439738"/>
                      <a:pt x="198437" y="439738"/>
                      <a:pt x="198437" y="390525"/>
                    </a:cubicBezTo>
                    <a:close/>
                    <a:moveTo>
                      <a:pt x="17311" y="390525"/>
                    </a:moveTo>
                    <a:cubicBezTo>
                      <a:pt x="17311" y="390525"/>
                      <a:pt x="17311" y="390525"/>
                      <a:pt x="166687" y="390525"/>
                    </a:cubicBezTo>
                    <a:lnTo>
                      <a:pt x="166687" y="439738"/>
                    </a:lnTo>
                    <a:cubicBezTo>
                      <a:pt x="166687" y="439738"/>
                      <a:pt x="166687" y="439738"/>
                      <a:pt x="1587" y="439738"/>
                    </a:cubicBezTo>
                    <a:cubicBezTo>
                      <a:pt x="1587" y="439738"/>
                      <a:pt x="1587" y="439738"/>
                      <a:pt x="1587" y="406216"/>
                    </a:cubicBezTo>
                    <a:cubicBezTo>
                      <a:pt x="1587" y="397657"/>
                      <a:pt x="8734" y="390525"/>
                      <a:pt x="17311" y="390525"/>
                    </a:cubicBezTo>
                    <a:close/>
                    <a:moveTo>
                      <a:pt x="439737" y="0"/>
                    </a:moveTo>
                    <a:cubicBezTo>
                      <a:pt x="439737" y="0"/>
                      <a:pt x="439737" y="0"/>
                      <a:pt x="446857" y="0"/>
                    </a:cubicBezTo>
                    <a:lnTo>
                      <a:pt x="667568" y="0"/>
                    </a:lnTo>
                    <a:cubicBezTo>
                      <a:pt x="667568" y="0"/>
                      <a:pt x="667568" y="0"/>
                      <a:pt x="674687" y="0"/>
                    </a:cubicBezTo>
                    <a:cubicBezTo>
                      <a:pt x="674687" y="0"/>
                      <a:pt x="674687" y="6382"/>
                      <a:pt x="674687" y="30490"/>
                    </a:cubicBezTo>
                    <a:cubicBezTo>
                      <a:pt x="674687" y="58145"/>
                      <a:pt x="674687" y="109908"/>
                      <a:pt x="674687" y="204216"/>
                    </a:cubicBezTo>
                    <a:cubicBezTo>
                      <a:pt x="674687" y="207761"/>
                      <a:pt x="671839" y="209179"/>
                      <a:pt x="668991" y="209179"/>
                    </a:cubicBezTo>
                    <a:cubicBezTo>
                      <a:pt x="668280" y="209179"/>
                      <a:pt x="667568" y="209179"/>
                      <a:pt x="666144" y="208470"/>
                    </a:cubicBezTo>
                    <a:cubicBezTo>
                      <a:pt x="666144" y="208470"/>
                      <a:pt x="666144" y="208470"/>
                      <a:pt x="641225" y="194998"/>
                    </a:cubicBezTo>
                    <a:cubicBezTo>
                      <a:pt x="640513" y="194289"/>
                      <a:pt x="639801" y="194289"/>
                      <a:pt x="638377" y="194289"/>
                    </a:cubicBezTo>
                    <a:cubicBezTo>
                      <a:pt x="637665" y="194289"/>
                      <a:pt x="636241" y="194289"/>
                      <a:pt x="635529" y="194998"/>
                    </a:cubicBezTo>
                    <a:cubicBezTo>
                      <a:pt x="635529" y="194998"/>
                      <a:pt x="635529" y="194998"/>
                      <a:pt x="603490" y="212016"/>
                    </a:cubicBezTo>
                    <a:cubicBezTo>
                      <a:pt x="602778" y="212016"/>
                      <a:pt x="601354" y="212725"/>
                      <a:pt x="600642" y="212725"/>
                    </a:cubicBezTo>
                    <a:cubicBezTo>
                      <a:pt x="599930" y="212725"/>
                      <a:pt x="598506" y="212016"/>
                      <a:pt x="597795" y="212016"/>
                    </a:cubicBezTo>
                    <a:cubicBezTo>
                      <a:pt x="597795" y="212016"/>
                      <a:pt x="597795" y="212016"/>
                      <a:pt x="560060" y="194998"/>
                    </a:cubicBezTo>
                    <a:cubicBezTo>
                      <a:pt x="558636" y="194289"/>
                      <a:pt x="557924" y="194289"/>
                      <a:pt x="557212" y="194289"/>
                    </a:cubicBezTo>
                    <a:cubicBezTo>
                      <a:pt x="556500" y="194289"/>
                      <a:pt x="555076" y="194289"/>
                      <a:pt x="554364" y="194998"/>
                    </a:cubicBezTo>
                    <a:cubicBezTo>
                      <a:pt x="554364" y="194998"/>
                      <a:pt x="554364" y="194998"/>
                      <a:pt x="517342" y="212016"/>
                    </a:cubicBezTo>
                    <a:cubicBezTo>
                      <a:pt x="516630" y="212016"/>
                      <a:pt x="515918" y="212725"/>
                      <a:pt x="515206" y="212725"/>
                    </a:cubicBezTo>
                    <a:cubicBezTo>
                      <a:pt x="513782" y="212725"/>
                      <a:pt x="513070" y="212016"/>
                      <a:pt x="511646" y="212016"/>
                    </a:cubicBezTo>
                    <a:cubicBezTo>
                      <a:pt x="511646" y="212016"/>
                      <a:pt x="511646" y="212016"/>
                      <a:pt x="478896" y="194998"/>
                    </a:cubicBezTo>
                    <a:cubicBezTo>
                      <a:pt x="478896" y="194289"/>
                      <a:pt x="477472" y="194289"/>
                      <a:pt x="476760" y="194289"/>
                    </a:cubicBezTo>
                    <a:cubicBezTo>
                      <a:pt x="475336" y="194289"/>
                      <a:pt x="474624" y="194289"/>
                      <a:pt x="473912" y="194998"/>
                    </a:cubicBezTo>
                    <a:cubicBezTo>
                      <a:pt x="473912" y="194998"/>
                      <a:pt x="473912" y="194998"/>
                      <a:pt x="448281" y="208470"/>
                    </a:cubicBezTo>
                    <a:cubicBezTo>
                      <a:pt x="446857" y="209179"/>
                      <a:pt x="446145" y="209179"/>
                      <a:pt x="444721" y="209179"/>
                    </a:cubicBezTo>
                    <a:cubicBezTo>
                      <a:pt x="441873" y="209179"/>
                      <a:pt x="439737" y="207761"/>
                      <a:pt x="439737" y="204216"/>
                    </a:cubicBezTo>
                    <a:cubicBezTo>
                      <a:pt x="439737" y="204216"/>
                      <a:pt x="439737" y="204216"/>
                      <a:pt x="439737" y="30490"/>
                    </a:cubicBezTo>
                    <a:cubicBezTo>
                      <a:pt x="439737" y="30490"/>
                      <a:pt x="439737" y="30490"/>
                      <a:pt x="439737" y="0"/>
                    </a:cubicBez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888761" y="1577895"/>
            <a:ext cx="101852" cy="91003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177" name="bcgIcons_SmartPhone">
            <a:extLst>
              <a:ext uri="{FF2B5EF4-FFF2-40B4-BE49-F238E27FC236}">
                <a16:creationId xmlns:a16="http://schemas.microsoft.com/office/drawing/2014/main" xmlns="" id="{860CC7CA-9F4C-42B3-8A8E-540ACC9BD3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32435" y="2029771"/>
            <a:ext cx="457200" cy="457200"/>
            <a:chOff x="1682" y="0"/>
            <a:chExt cx="4316" cy="4320"/>
          </a:xfrm>
        </p:grpSpPr>
        <p:sp>
          <p:nvSpPr>
            <p:cNvPr id="178" name="AutoShape 13">
              <a:extLst>
                <a:ext uri="{FF2B5EF4-FFF2-40B4-BE49-F238E27FC236}">
                  <a16:creationId xmlns:a16="http://schemas.microsoft.com/office/drawing/2014/main" xmlns="" id="{CB5E192C-1D4A-4BC6-892D-079D9F00354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9" name="Freeform 15">
              <a:extLst>
                <a:ext uri="{FF2B5EF4-FFF2-40B4-BE49-F238E27FC236}">
                  <a16:creationId xmlns:a16="http://schemas.microsoft.com/office/drawing/2014/main" xmlns="" id="{DA725996-F4C4-4D12-BF2B-DE0A4289C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7" y="726"/>
              <a:ext cx="1510" cy="2865"/>
            </a:xfrm>
            <a:custGeom>
              <a:avLst/>
              <a:gdLst>
                <a:gd name="T0" fmla="*/ 784 w 806"/>
                <a:gd name="T1" fmla="*/ 0 h 1528"/>
                <a:gd name="T2" fmla="*/ 22 w 806"/>
                <a:gd name="T3" fmla="*/ 0 h 1528"/>
                <a:gd name="T4" fmla="*/ 0 w 806"/>
                <a:gd name="T5" fmla="*/ 22 h 1528"/>
                <a:gd name="T6" fmla="*/ 0 w 806"/>
                <a:gd name="T7" fmla="*/ 1252 h 1528"/>
                <a:gd name="T8" fmla="*/ 0 w 806"/>
                <a:gd name="T9" fmla="*/ 1296 h 1528"/>
                <a:gd name="T10" fmla="*/ 0 w 806"/>
                <a:gd name="T11" fmla="*/ 1506 h 1528"/>
                <a:gd name="T12" fmla="*/ 22 w 806"/>
                <a:gd name="T13" fmla="*/ 1528 h 1528"/>
                <a:gd name="T14" fmla="*/ 784 w 806"/>
                <a:gd name="T15" fmla="*/ 1528 h 1528"/>
                <a:gd name="T16" fmla="*/ 806 w 806"/>
                <a:gd name="T17" fmla="*/ 1506 h 1528"/>
                <a:gd name="T18" fmla="*/ 806 w 806"/>
                <a:gd name="T19" fmla="*/ 1296 h 1528"/>
                <a:gd name="T20" fmla="*/ 806 w 806"/>
                <a:gd name="T21" fmla="*/ 1252 h 1528"/>
                <a:gd name="T22" fmla="*/ 806 w 806"/>
                <a:gd name="T23" fmla="*/ 22 h 1528"/>
                <a:gd name="T24" fmla="*/ 784 w 806"/>
                <a:gd name="T25" fmla="*/ 0 h 1528"/>
                <a:gd name="T26" fmla="*/ 762 w 806"/>
                <a:gd name="T27" fmla="*/ 1484 h 1528"/>
                <a:gd name="T28" fmla="*/ 44 w 806"/>
                <a:gd name="T29" fmla="*/ 1484 h 1528"/>
                <a:gd name="T30" fmla="*/ 44 w 806"/>
                <a:gd name="T31" fmla="*/ 1296 h 1528"/>
                <a:gd name="T32" fmla="*/ 762 w 806"/>
                <a:gd name="T33" fmla="*/ 1296 h 1528"/>
                <a:gd name="T34" fmla="*/ 762 w 806"/>
                <a:gd name="T35" fmla="*/ 1484 h 1528"/>
                <a:gd name="T36" fmla="*/ 44 w 806"/>
                <a:gd name="T37" fmla="*/ 1252 h 1528"/>
                <a:gd name="T38" fmla="*/ 44 w 806"/>
                <a:gd name="T39" fmla="*/ 44 h 1528"/>
                <a:gd name="T40" fmla="*/ 762 w 806"/>
                <a:gd name="T41" fmla="*/ 44 h 1528"/>
                <a:gd name="T42" fmla="*/ 762 w 806"/>
                <a:gd name="T43" fmla="*/ 1252 h 1528"/>
                <a:gd name="T44" fmla="*/ 44 w 806"/>
                <a:gd name="T45" fmla="*/ 1252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6" h="1528">
                  <a:moveTo>
                    <a:pt x="78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  <a:moveTo>
                    <a:pt x="44" y="1252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1252"/>
                    <a:pt x="762" y="1252"/>
                    <a:pt x="762" y="1252"/>
                  </a:cubicBezTo>
                  <a:lnTo>
                    <a:pt x="44" y="1252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80" name="Freeform 16">
              <a:extLst>
                <a:ext uri="{FF2B5EF4-FFF2-40B4-BE49-F238E27FC236}">
                  <a16:creationId xmlns:a16="http://schemas.microsoft.com/office/drawing/2014/main" xmlns="" id="{9686836C-98FA-4BA9-914A-53B646943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1" y="917"/>
              <a:ext cx="1195" cy="2512"/>
            </a:xfrm>
            <a:custGeom>
              <a:avLst/>
              <a:gdLst>
                <a:gd name="T0" fmla="*/ 321 w 638"/>
                <a:gd name="T1" fmla="*/ 1340 h 1340"/>
                <a:gd name="T2" fmla="*/ 263 w 638"/>
                <a:gd name="T3" fmla="*/ 1282 h 1340"/>
                <a:gd name="T4" fmla="*/ 321 w 638"/>
                <a:gd name="T5" fmla="*/ 1224 h 1340"/>
                <a:gd name="T6" fmla="*/ 379 w 638"/>
                <a:gd name="T7" fmla="*/ 1282 h 1340"/>
                <a:gd name="T8" fmla="*/ 321 w 638"/>
                <a:gd name="T9" fmla="*/ 1340 h 1340"/>
                <a:gd name="T10" fmla="*/ 638 w 638"/>
                <a:gd name="T11" fmla="*/ 1092 h 1340"/>
                <a:gd name="T12" fmla="*/ 638 w 638"/>
                <a:gd name="T13" fmla="*/ 115 h 1340"/>
                <a:gd name="T14" fmla="*/ 628 w 638"/>
                <a:gd name="T15" fmla="*/ 105 h 1340"/>
                <a:gd name="T16" fmla="*/ 10 w 638"/>
                <a:gd name="T17" fmla="*/ 105 h 1340"/>
                <a:gd name="T18" fmla="*/ 0 w 638"/>
                <a:gd name="T19" fmla="*/ 115 h 1340"/>
                <a:gd name="T20" fmla="*/ 0 w 638"/>
                <a:gd name="T21" fmla="*/ 1092 h 1340"/>
                <a:gd name="T22" fmla="*/ 10 w 638"/>
                <a:gd name="T23" fmla="*/ 1102 h 1340"/>
                <a:gd name="T24" fmla="*/ 628 w 638"/>
                <a:gd name="T25" fmla="*/ 1102 h 1340"/>
                <a:gd name="T26" fmla="*/ 638 w 638"/>
                <a:gd name="T27" fmla="*/ 1092 h 1340"/>
                <a:gd name="T28" fmla="*/ 469 w 638"/>
                <a:gd name="T29" fmla="*/ 22 h 1340"/>
                <a:gd name="T30" fmla="*/ 447 w 638"/>
                <a:gd name="T31" fmla="*/ 0 h 1340"/>
                <a:gd name="T32" fmla="*/ 195 w 638"/>
                <a:gd name="T33" fmla="*/ 0 h 1340"/>
                <a:gd name="T34" fmla="*/ 173 w 638"/>
                <a:gd name="T35" fmla="*/ 22 h 1340"/>
                <a:gd name="T36" fmla="*/ 195 w 638"/>
                <a:gd name="T37" fmla="*/ 44 h 1340"/>
                <a:gd name="T38" fmla="*/ 447 w 638"/>
                <a:gd name="T39" fmla="*/ 44 h 1340"/>
                <a:gd name="T40" fmla="*/ 469 w 638"/>
                <a:gd name="T41" fmla="*/ 22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8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638" y="1092"/>
                  </a:moveTo>
                  <a:cubicBezTo>
                    <a:pt x="638" y="115"/>
                    <a:pt x="638" y="115"/>
                    <a:pt x="638" y="115"/>
                  </a:cubicBezTo>
                  <a:cubicBezTo>
                    <a:pt x="638" y="110"/>
                    <a:pt x="634" y="105"/>
                    <a:pt x="628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4" y="105"/>
                    <a:pt x="0" y="110"/>
                    <a:pt x="0" y="115"/>
                  </a:cubicBezTo>
                  <a:cubicBezTo>
                    <a:pt x="0" y="1092"/>
                    <a:pt x="0" y="1092"/>
                    <a:pt x="0" y="1092"/>
                  </a:cubicBezTo>
                  <a:cubicBezTo>
                    <a:pt x="0" y="1098"/>
                    <a:pt x="4" y="1102"/>
                    <a:pt x="10" y="1102"/>
                  </a:cubicBezTo>
                  <a:cubicBezTo>
                    <a:pt x="628" y="1102"/>
                    <a:pt x="628" y="1102"/>
                    <a:pt x="628" y="1102"/>
                  </a:cubicBezTo>
                  <a:cubicBezTo>
                    <a:pt x="634" y="1102"/>
                    <a:pt x="638" y="1098"/>
                    <a:pt x="638" y="1092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cxnSp>
        <p:nvCxnSpPr>
          <p:cNvPr id="80" name="Straight Connector 79"/>
          <p:cNvCxnSpPr/>
          <p:nvPr/>
        </p:nvCxnSpPr>
        <p:spPr>
          <a:xfrm>
            <a:off x="3847772" y="1787973"/>
            <a:ext cx="0" cy="717056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576449" y="2633975"/>
            <a:ext cx="0" cy="28031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5287082" y="2633975"/>
            <a:ext cx="4655" cy="28031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6023040" y="2279906"/>
            <a:ext cx="4655" cy="258474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>
            <a:off x="6749677" y="1912978"/>
            <a:ext cx="1" cy="12923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3905220" y="3409686"/>
            <a:ext cx="1043383" cy="539181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4961024" y="2620369"/>
            <a:ext cx="2608458" cy="1322940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3847772" y="2892739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4567427" y="3276280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5303385" y="3334646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6016052" y="2930260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6742694" y="2584238"/>
            <a:ext cx="0" cy="289742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6969491" y="3409426"/>
            <a:ext cx="2827986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bg-BG" sz="12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Национальная система цифровой маркировки Честный ЗНАК</a:t>
            </a:r>
          </a:p>
        </p:txBody>
      </p:sp>
      <p:sp>
        <p:nvSpPr>
          <p:cNvPr id="98" name="Oval 20"/>
          <p:cNvSpPr>
            <a:spLocks noChangeArrowheads="1"/>
          </p:cNvSpPr>
          <p:nvPr/>
        </p:nvSpPr>
        <p:spPr bwMode="auto">
          <a:xfrm>
            <a:off x="5921592" y="1897034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4</a:t>
            </a:r>
          </a:p>
        </p:txBody>
      </p:sp>
      <p:sp>
        <p:nvSpPr>
          <p:cNvPr id="99" name="Oval 20"/>
          <p:cNvSpPr>
            <a:spLocks noChangeArrowheads="1"/>
          </p:cNvSpPr>
          <p:nvPr/>
        </p:nvSpPr>
        <p:spPr bwMode="auto">
          <a:xfrm>
            <a:off x="6657550" y="1538506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5</a:t>
            </a:r>
          </a:p>
        </p:txBody>
      </p:sp>
      <p:sp>
        <p:nvSpPr>
          <p:cNvPr id="100" name="Oval 20"/>
          <p:cNvSpPr>
            <a:spLocks noChangeArrowheads="1"/>
          </p:cNvSpPr>
          <p:nvPr/>
        </p:nvSpPr>
        <p:spPr bwMode="auto">
          <a:xfrm>
            <a:off x="3747378" y="1893324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1</a:t>
            </a:r>
          </a:p>
        </p:txBody>
      </p:sp>
      <p:sp>
        <p:nvSpPr>
          <p:cNvPr id="101" name="Oval 20"/>
          <p:cNvSpPr>
            <a:spLocks noChangeArrowheads="1"/>
          </p:cNvSpPr>
          <p:nvPr/>
        </p:nvSpPr>
        <p:spPr bwMode="auto">
          <a:xfrm>
            <a:off x="4473346" y="2219611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2</a:t>
            </a:r>
          </a:p>
        </p:txBody>
      </p:sp>
      <p:sp>
        <p:nvSpPr>
          <p:cNvPr id="102" name="Oval 20"/>
          <p:cNvSpPr>
            <a:spLocks noChangeArrowheads="1"/>
          </p:cNvSpPr>
          <p:nvPr/>
        </p:nvSpPr>
        <p:spPr bwMode="auto">
          <a:xfrm>
            <a:off x="5200125" y="2234899"/>
            <a:ext cx="201168" cy="201168"/>
          </a:xfrm>
          <a:prstGeom prst="ellipse">
            <a:avLst/>
          </a:prstGeom>
          <a:solidFill>
            <a:srgbClr val="59595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bg-BG" sz="1000" dirty="0">
                <a:solidFill>
                  <a:srgbClr val="EBE60E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3</a:t>
            </a:r>
          </a:p>
        </p:txBody>
      </p:sp>
      <p:grpSp>
        <p:nvGrpSpPr>
          <p:cNvPr id="159" name="bcgIcons_CashRegister">
            <a:extLst>
              <a:ext uri="{FF2B5EF4-FFF2-40B4-BE49-F238E27FC236}">
                <a16:creationId xmlns:a16="http://schemas.microsoft.com/office/drawing/2014/main" xmlns="" id="{1CA5B7BC-38C6-4110-B472-469458A7E4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6476" y="2493355"/>
            <a:ext cx="457200" cy="457623"/>
            <a:chOff x="1682" y="0"/>
            <a:chExt cx="4316" cy="4320"/>
          </a:xfrm>
        </p:grpSpPr>
        <p:sp>
          <p:nvSpPr>
            <p:cNvPr id="160" name="AutoShape 23">
              <a:extLst>
                <a:ext uri="{FF2B5EF4-FFF2-40B4-BE49-F238E27FC236}">
                  <a16:creationId xmlns:a16="http://schemas.microsoft.com/office/drawing/2014/main" xmlns="" id="{B9A507EE-595A-4699-B9C1-2BCC319EBE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61" name="Freeform 25">
              <a:extLst>
                <a:ext uri="{FF2B5EF4-FFF2-40B4-BE49-F238E27FC236}">
                  <a16:creationId xmlns:a16="http://schemas.microsoft.com/office/drawing/2014/main" xmlns="" id="{3EC6DBE2-FD65-4511-A012-BE0A009ED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8" y="844"/>
              <a:ext cx="1926" cy="1665"/>
            </a:xfrm>
            <a:custGeom>
              <a:avLst/>
              <a:gdLst>
                <a:gd name="T0" fmla="*/ 22 w 1028"/>
                <a:gd name="T1" fmla="*/ 518 h 888"/>
                <a:gd name="T2" fmla="*/ 22 w 1028"/>
                <a:gd name="T3" fmla="*/ 474 h 888"/>
                <a:gd name="T4" fmla="*/ 241 w 1028"/>
                <a:gd name="T5" fmla="*/ 496 h 888"/>
                <a:gd name="T6" fmla="*/ 241 w 1028"/>
                <a:gd name="T7" fmla="*/ 400 h 888"/>
                <a:gd name="T8" fmla="*/ 22 w 1028"/>
                <a:gd name="T9" fmla="*/ 378 h 888"/>
                <a:gd name="T10" fmla="*/ 22 w 1028"/>
                <a:gd name="T11" fmla="*/ 422 h 888"/>
                <a:gd name="T12" fmla="*/ 241 w 1028"/>
                <a:gd name="T13" fmla="*/ 400 h 888"/>
                <a:gd name="T14" fmla="*/ 219 w 1028"/>
                <a:gd name="T15" fmla="*/ 281 h 888"/>
                <a:gd name="T16" fmla="*/ 0 w 1028"/>
                <a:gd name="T17" fmla="*/ 303 h 888"/>
                <a:gd name="T18" fmla="*/ 219 w 1028"/>
                <a:gd name="T19" fmla="*/ 325 h 888"/>
                <a:gd name="T20" fmla="*/ 241 w 1028"/>
                <a:gd name="T21" fmla="*/ 207 h 888"/>
                <a:gd name="T22" fmla="*/ 22 w 1028"/>
                <a:gd name="T23" fmla="*/ 185 h 888"/>
                <a:gd name="T24" fmla="*/ 22 w 1028"/>
                <a:gd name="T25" fmla="*/ 229 h 888"/>
                <a:gd name="T26" fmla="*/ 241 w 1028"/>
                <a:gd name="T27" fmla="*/ 207 h 888"/>
                <a:gd name="T28" fmla="*/ 1028 w 1028"/>
                <a:gd name="T29" fmla="*/ 388 h 888"/>
                <a:gd name="T30" fmla="*/ 554 w 1028"/>
                <a:gd name="T31" fmla="*/ 378 h 888"/>
                <a:gd name="T32" fmla="*/ 544 w 1028"/>
                <a:gd name="T33" fmla="*/ 529 h 888"/>
                <a:gd name="T34" fmla="*/ 1018 w 1028"/>
                <a:gd name="T35" fmla="*/ 539 h 888"/>
                <a:gd name="T36" fmla="*/ 1016 w 1028"/>
                <a:gd name="T37" fmla="*/ 136 h 888"/>
                <a:gd name="T38" fmla="*/ 1006 w 1028"/>
                <a:gd name="T39" fmla="*/ 0 h 888"/>
                <a:gd name="T40" fmla="*/ 556 w 1028"/>
                <a:gd name="T41" fmla="*/ 10 h 888"/>
                <a:gd name="T42" fmla="*/ 566 w 1028"/>
                <a:gd name="T43" fmla="*/ 146 h 888"/>
                <a:gd name="T44" fmla="*/ 1016 w 1028"/>
                <a:gd name="T45" fmla="*/ 136 h 888"/>
                <a:gd name="T46" fmla="*/ 676 w 1028"/>
                <a:gd name="T47" fmla="*/ 617 h 888"/>
                <a:gd name="T48" fmla="*/ 594 w 1028"/>
                <a:gd name="T49" fmla="*/ 595 h 888"/>
                <a:gd name="T50" fmla="*/ 572 w 1028"/>
                <a:gd name="T51" fmla="*/ 638 h 888"/>
                <a:gd name="T52" fmla="*/ 654 w 1028"/>
                <a:gd name="T53" fmla="*/ 660 h 888"/>
                <a:gd name="T54" fmla="*/ 843 w 1028"/>
                <a:gd name="T55" fmla="*/ 638 h 888"/>
                <a:gd name="T56" fmla="*/ 821 w 1028"/>
                <a:gd name="T57" fmla="*/ 595 h 888"/>
                <a:gd name="T58" fmla="*/ 738 w 1028"/>
                <a:gd name="T59" fmla="*/ 617 h 888"/>
                <a:gd name="T60" fmla="*/ 760 w 1028"/>
                <a:gd name="T61" fmla="*/ 660 h 888"/>
                <a:gd name="T62" fmla="*/ 843 w 1028"/>
                <a:gd name="T63" fmla="*/ 638 h 888"/>
                <a:gd name="T64" fmla="*/ 676 w 1028"/>
                <a:gd name="T65" fmla="*/ 731 h 888"/>
                <a:gd name="T66" fmla="*/ 594 w 1028"/>
                <a:gd name="T67" fmla="*/ 709 h 888"/>
                <a:gd name="T68" fmla="*/ 572 w 1028"/>
                <a:gd name="T69" fmla="*/ 752 h 888"/>
                <a:gd name="T70" fmla="*/ 654 w 1028"/>
                <a:gd name="T71" fmla="*/ 774 h 888"/>
                <a:gd name="T72" fmla="*/ 843 w 1028"/>
                <a:gd name="T73" fmla="*/ 752 h 888"/>
                <a:gd name="T74" fmla="*/ 821 w 1028"/>
                <a:gd name="T75" fmla="*/ 709 h 888"/>
                <a:gd name="T76" fmla="*/ 738 w 1028"/>
                <a:gd name="T77" fmla="*/ 731 h 888"/>
                <a:gd name="T78" fmla="*/ 760 w 1028"/>
                <a:gd name="T79" fmla="*/ 774 h 888"/>
                <a:gd name="T80" fmla="*/ 843 w 1028"/>
                <a:gd name="T81" fmla="*/ 752 h 888"/>
                <a:gd name="T82" fmla="*/ 676 w 1028"/>
                <a:gd name="T83" fmla="*/ 845 h 888"/>
                <a:gd name="T84" fmla="*/ 594 w 1028"/>
                <a:gd name="T85" fmla="*/ 823 h 888"/>
                <a:gd name="T86" fmla="*/ 572 w 1028"/>
                <a:gd name="T87" fmla="*/ 866 h 888"/>
                <a:gd name="T88" fmla="*/ 654 w 1028"/>
                <a:gd name="T89" fmla="*/ 888 h 888"/>
                <a:gd name="T90" fmla="*/ 843 w 1028"/>
                <a:gd name="T91" fmla="*/ 866 h 888"/>
                <a:gd name="T92" fmla="*/ 821 w 1028"/>
                <a:gd name="T93" fmla="*/ 823 h 888"/>
                <a:gd name="T94" fmla="*/ 738 w 1028"/>
                <a:gd name="T95" fmla="*/ 845 h 888"/>
                <a:gd name="T96" fmla="*/ 760 w 1028"/>
                <a:gd name="T97" fmla="*/ 888 h 888"/>
                <a:gd name="T98" fmla="*/ 843 w 1028"/>
                <a:gd name="T99" fmla="*/ 866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8" h="888">
                  <a:moveTo>
                    <a:pt x="219" y="518"/>
                  </a:moveTo>
                  <a:cubicBezTo>
                    <a:pt x="22" y="518"/>
                    <a:pt x="22" y="518"/>
                    <a:pt x="22" y="518"/>
                  </a:cubicBezTo>
                  <a:cubicBezTo>
                    <a:pt x="10" y="518"/>
                    <a:pt x="0" y="508"/>
                    <a:pt x="0" y="496"/>
                  </a:cubicBezTo>
                  <a:cubicBezTo>
                    <a:pt x="0" y="484"/>
                    <a:pt x="10" y="474"/>
                    <a:pt x="22" y="474"/>
                  </a:cubicBezTo>
                  <a:cubicBezTo>
                    <a:pt x="219" y="474"/>
                    <a:pt x="219" y="474"/>
                    <a:pt x="219" y="474"/>
                  </a:cubicBezTo>
                  <a:cubicBezTo>
                    <a:pt x="231" y="474"/>
                    <a:pt x="241" y="484"/>
                    <a:pt x="241" y="496"/>
                  </a:cubicBezTo>
                  <a:cubicBezTo>
                    <a:pt x="241" y="508"/>
                    <a:pt x="231" y="518"/>
                    <a:pt x="219" y="518"/>
                  </a:cubicBezTo>
                  <a:close/>
                  <a:moveTo>
                    <a:pt x="241" y="400"/>
                  </a:moveTo>
                  <a:cubicBezTo>
                    <a:pt x="241" y="388"/>
                    <a:pt x="231" y="378"/>
                    <a:pt x="219" y="378"/>
                  </a:cubicBezTo>
                  <a:cubicBezTo>
                    <a:pt x="22" y="378"/>
                    <a:pt x="22" y="378"/>
                    <a:pt x="22" y="378"/>
                  </a:cubicBezTo>
                  <a:cubicBezTo>
                    <a:pt x="10" y="378"/>
                    <a:pt x="0" y="388"/>
                    <a:pt x="0" y="400"/>
                  </a:cubicBezTo>
                  <a:cubicBezTo>
                    <a:pt x="0" y="412"/>
                    <a:pt x="10" y="422"/>
                    <a:pt x="22" y="422"/>
                  </a:cubicBezTo>
                  <a:cubicBezTo>
                    <a:pt x="219" y="422"/>
                    <a:pt x="219" y="422"/>
                    <a:pt x="219" y="422"/>
                  </a:cubicBezTo>
                  <a:cubicBezTo>
                    <a:pt x="231" y="422"/>
                    <a:pt x="241" y="412"/>
                    <a:pt x="241" y="400"/>
                  </a:cubicBezTo>
                  <a:close/>
                  <a:moveTo>
                    <a:pt x="241" y="303"/>
                  </a:moveTo>
                  <a:cubicBezTo>
                    <a:pt x="241" y="291"/>
                    <a:pt x="231" y="281"/>
                    <a:pt x="219" y="281"/>
                  </a:cubicBezTo>
                  <a:cubicBezTo>
                    <a:pt x="22" y="281"/>
                    <a:pt x="22" y="281"/>
                    <a:pt x="22" y="281"/>
                  </a:cubicBezTo>
                  <a:cubicBezTo>
                    <a:pt x="10" y="281"/>
                    <a:pt x="0" y="291"/>
                    <a:pt x="0" y="303"/>
                  </a:cubicBezTo>
                  <a:cubicBezTo>
                    <a:pt x="0" y="316"/>
                    <a:pt x="10" y="325"/>
                    <a:pt x="22" y="325"/>
                  </a:cubicBezTo>
                  <a:cubicBezTo>
                    <a:pt x="219" y="325"/>
                    <a:pt x="219" y="325"/>
                    <a:pt x="219" y="325"/>
                  </a:cubicBezTo>
                  <a:cubicBezTo>
                    <a:pt x="231" y="325"/>
                    <a:pt x="241" y="316"/>
                    <a:pt x="241" y="303"/>
                  </a:cubicBezTo>
                  <a:close/>
                  <a:moveTo>
                    <a:pt x="241" y="207"/>
                  </a:moveTo>
                  <a:cubicBezTo>
                    <a:pt x="241" y="195"/>
                    <a:pt x="231" y="185"/>
                    <a:pt x="219" y="185"/>
                  </a:cubicBezTo>
                  <a:cubicBezTo>
                    <a:pt x="22" y="185"/>
                    <a:pt x="22" y="185"/>
                    <a:pt x="22" y="185"/>
                  </a:cubicBezTo>
                  <a:cubicBezTo>
                    <a:pt x="10" y="185"/>
                    <a:pt x="0" y="195"/>
                    <a:pt x="0" y="207"/>
                  </a:cubicBezTo>
                  <a:cubicBezTo>
                    <a:pt x="0" y="219"/>
                    <a:pt x="10" y="229"/>
                    <a:pt x="22" y="229"/>
                  </a:cubicBezTo>
                  <a:cubicBezTo>
                    <a:pt x="219" y="229"/>
                    <a:pt x="219" y="229"/>
                    <a:pt x="219" y="229"/>
                  </a:cubicBezTo>
                  <a:cubicBezTo>
                    <a:pt x="231" y="229"/>
                    <a:pt x="241" y="219"/>
                    <a:pt x="241" y="207"/>
                  </a:cubicBezTo>
                  <a:close/>
                  <a:moveTo>
                    <a:pt x="1028" y="529"/>
                  </a:moveTo>
                  <a:cubicBezTo>
                    <a:pt x="1028" y="388"/>
                    <a:pt x="1028" y="388"/>
                    <a:pt x="1028" y="388"/>
                  </a:cubicBezTo>
                  <a:cubicBezTo>
                    <a:pt x="1028" y="382"/>
                    <a:pt x="1023" y="378"/>
                    <a:pt x="1018" y="378"/>
                  </a:cubicBezTo>
                  <a:cubicBezTo>
                    <a:pt x="554" y="378"/>
                    <a:pt x="554" y="378"/>
                    <a:pt x="554" y="378"/>
                  </a:cubicBezTo>
                  <a:cubicBezTo>
                    <a:pt x="549" y="378"/>
                    <a:pt x="544" y="382"/>
                    <a:pt x="544" y="388"/>
                  </a:cubicBezTo>
                  <a:cubicBezTo>
                    <a:pt x="544" y="529"/>
                    <a:pt x="544" y="529"/>
                    <a:pt x="544" y="529"/>
                  </a:cubicBezTo>
                  <a:cubicBezTo>
                    <a:pt x="544" y="535"/>
                    <a:pt x="549" y="539"/>
                    <a:pt x="554" y="539"/>
                  </a:cubicBezTo>
                  <a:cubicBezTo>
                    <a:pt x="1018" y="539"/>
                    <a:pt x="1018" y="539"/>
                    <a:pt x="1018" y="539"/>
                  </a:cubicBezTo>
                  <a:cubicBezTo>
                    <a:pt x="1023" y="539"/>
                    <a:pt x="1028" y="535"/>
                    <a:pt x="1028" y="529"/>
                  </a:cubicBezTo>
                  <a:close/>
                  <a:moveTo>
                    <a:pt x="1016" y="136"/>
                  </a:moveTo>
                  <a:cubicBezTo>
                    <a:pt x="1016" y="10"/>
                    <a:pt x="1016" y="10"/>
                    <a:pt x="1016" y="10"/>
                  </a:cubicBezTo>
                  <a:cubicBezTo>
                    <a:pt x="1016" y="4"/>
                    <a:pt x="1012" y="0"/>
                    <a:pt x="1006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60" y="0"/>
                    <a:pt x="556" y="4"/>
                    <a:pt x="556" y="10"/>
                  </a:cubicBezTo>
                  <a:cubicBezTo>
                    <a:pt x="556" y="136"/>
                    <a:pt x="556" y="136"/>
                    <a:pt x="556" y="136"/>
                  </a:cubicBezTo>
                  <a:cubicBezTo>
                    <a:pt x="556" y="142"/>
                    <a:pt x="560" y="146"/>
                    <a:pt x="566" y="146"/>
                  </a:cubicBezTo>
                  <a:cubicBezTo>
                    <a:pt x="1006" y="146"/>
                    <a:pt x="1006" y="146"/>
                    <a:pt x="1006" y="146"/>
                  </a:cubicBezTo>
                  <a:cubicBezTo>
                    <a:pt x="1012" y="146"/>
                    <a:pt x="1016" y="142"/>
                    <a:pt x="1016" y="136"/>
                  </a:cubicBezTo>
                  <a:close/>
                  <a:moveTo>
                    <a:pt x="676" y="638"/>
                  </a:moveTo>
                  <a:cubicBezTo>
                    <a:pt x="676" y="617"/>
                    <a:pt x="676" y="617"/>
                    <a:pt x="676" y="617"/>
                  </a:cubicBezTo>
                  <a:cubicBezTo>
                    <a:pt x="676" y="605"/>
                    <a:pt x="666" y="595"/>
                    <a:pt x="654" y="595"/>
                  </a:cubicBezTo>
                  <a:cubicBezTo>
                    <a:pt x="594" y="595"/>
                    <a:pt x="594" y="595"/>
                    <a:pt x="594" y="595"/>
                  </a:cubicBezTo>
                  <a:cubicBezTo>
                    <a:pt x="582" y="595"/>
                    <a:pt x="572" y="605"/>
                    <a:pt x="572" y="617"/>
                  </a:cubicBezTo>
                  <a:cubicBezTo>
                    <a:pt x="572" y="638"/>
                    <a:pt x="572" y="638"/>
                    <a:pt x="572" y="638"/>
                  </a:cubicBezTo>
                  <a:cubicBezTo>
                    <a:pt x="572" y="650"/>
                    <a:pt x="582" y="660"/>
                    <a:pt x="594" y="660"/>
                  </a:cubicBezTo>
                  <a:cubicBezTo>
                    <a:pt x="654" y="660"/>
                    <a:pt x="654" y="660"/>
                    <a:pt x="654" y="660"/>
                  </a:cubicBezTo>
                  <a:cubicBezTo>
                    <a:pt x="666" y="660"/>
                    <a:pt x="676" y="650"/>
                    <a:pt x="676" y="638"/>
                  </a:cubicBezTo>
                  <a:close/>
                  <a:moveTo>
                    <a:pt x="843" y="638"/>
                  </a:moveTo>
                  <a:cubicBezTo>
                    <a:pt x="843" y="617"/>
                    <a:pt x="843" y="617"/>
                    <a:pt x="843" y="617"/>
                  </a:cubicBezTo>
                  <a:cubicBezTo>
                    <a:pt x="843" y="605"/>
                    <a:pt x="833" y="595"/>
                    <a:pt x="821" y="595"/>
                  </a:cubicBezTo>
                  <a:cubicBezTo>
                    <a:pt x="760" y="595"/>
                    <a:pt x="760" y="595"/>
                    <a:pt x="760" y="595"/>
                  </a:cubicBezTo>
                  <a:cubicBezTo>
                    <a:pt x="748" y="595"/>
                    <a:pt x="738" y="605"/>
                    <a:pt x="738" y="617"/>
                  </a:cubicBezTo>
                  <a:cubicBezTo>
                    <a:pt x="738" y="638"/>
                    <a:pt x="738" y="638"/>
                    <a:pt x="738" y="638"/>
                  </a:cubicBezTo>
                  <a:cubicBezTo>
                    <a:pt x="738" y="650"/>
                    <a:pt x="748" y="660"/>
                    <a:pt x="760" y="660"/>
                  </a:cubicBezTo>
                  <a:cubicBezTo>
                    <a:pt x="821" y="660"/>
                    <a:pt x="821" y="660"/>
                    <a:pt x="821" y="660"/>
                  </a:cubicBezTo>
                  <a:cubicBezTo>
                    <a:pt x="833" y="660"/>
                    <a:pt x="843" y="650"/>
                    <a:pt x="843" y="638"/>
                  </a:cubicBezTo>
                  <a:close/>
                  <a:moveTo>
                    <a:pt x="676" y="752"/>
                  </a:moveTo>
                  <a:cubicBezTo>
                    <a:pt x="676" y="731"/>
                    <a:pt x="676" y="731"/>
                    <a:pt x="676" y="731"/>
                  </a:cubicBezTo>
                  <a:cubicBezTo>
                    <a:pt x="676" y="719"/>
                    <a:pt x="666" y="709"/>
                    <a:pt x="654" y="709"/>
                  </a:cubicBezTo>
                  <a:cubicBezTo>
                    <a:pt x="594" y="709"/>
                    <a:pt x="594" y="709"/>
                    <a:pt x="594" y="709"/>
                  </a:cubicBezTo>
                  <a:cubicBezTo>
                    <a:pt x="582" y="709"/>
                    <a:pt x="572" y="719"/>
                    <a:pt x="572" y="731"/>
                  </a:cubicBezTo>
                  <a:cubicBezTo>
                    <a:pt x="572" y="752"/>
                    <a:pt x="572" y="752"/>
                    <a:pt x="572" y="752"/>
                  </a:cubicBezTo>
                  <a:cubicBezTo>
                    <a:pt x="572" y="764"/>
                    <a:pt x="582" y="774"/>
                    <a:pt x="594" y="774"/>
                  </a:cubicBezTo>
                  <a:cubicBezTo>
                    <a:pt x="654" y="774"/>
                    <a:pt x="654" y="774"/>
                    <a:pt x="654" y="774"/>
                  </a:cubicBezTo>
                  <a:cubicBezTo>
                    <a:pt x="666" y="774"/>
                    <a:pt x="676" y="764"/>
                    <a:pt x="676" y="752"/>
                  </a:cubicBezTo>
                  <a:close/>
                  <a:moveTo>
                    <a:pt x="843" y="752"/>
                  </a:moveTo>
                  <a:cubicBezTo>
                    <a:pt x="843" y="731"/>
                    <a:pt x="843" y="731"/>
                    <a:pt x="843" y="731"/>
                  </a:cubicBezTo>
                  <a:cubicBezTo>
                    <a:pt x="843" y="719"/>
                    <a:pt x="833" y="709"/>
                    <a:pt x="821" y="709"/>
                  </a:cubicBezTo>
                  <a:cubicBezTo>
                    <a:pt x="760" y="709"/>
                    <a:pt x="760" y="709"/>
                    <a:pt x="760" y="709"/>
                  </a:cubicBezTo>
                  <a:cubicBezTo>
                    <a:pt x="748" y="709"/>
                    <a:pt x="738" y="719"/>
                    <a:pt x="738" y="731"/>
                  </a:cubicBezTo>
                  <a:cubicBezTo>
                    <a:pt x="738" y="752"/>
                    <a:pt x="738" y="752"/>
                    <a:pt x="738" y="752"/>
                  </a:cubicBezTo>
                  <a:cubicBezTo>
                    <a:pt x="738" y="764"/>
                    <a:pt x="748" y="774"/>
                    <a:pt x="760" y="774"/>
                  </a:cubicBezTo>
                  <a:cubicBezTo>
                    <a:pt x="821" y="774"/>
                    <a:pt x="821" y="774"/>
                    <a:pt x="821" y="774"/>
                  </a:cubicBezTo>
                  <a:cubicBezTo>
                    <a:pt x="833" y="774"/>
                    <a:pt x="843" y="764"/>
                    <a:pt x="843" y="752"/>
                  </a:cubicBezTo>
                  <a:close/>
                  <a:moveTo>
                    <a:pt x="676" y="866"/>
                  </a:moveTo>
                  <a:cubicBezTo>
                    <a:pt x="676" y="845"/>
                    <a:pt x="676" y="845"/>
                    <a:pt x="676" y="845"/>
                  </a:cubicBezTo>
                  <a:cubicBezTo>
                    <a:pt x="676" y="833"/>
                    <a:pt x="666" y="823"/>
                    <a:pt x="654" y="823"/>
                  </a:cubicBezTo>
                  <a:cubicBezTo>
                    <a:pt x="594" y="823"/>
                    <a:pt x="594" y="823"/>
                    <a:pt x="594" y="823"/>
                  </a:cubicBezTo>
                  <a:cubicBezTo>
                    <a:pt x="582" y="823"/>
                    <a:pt x="572" y="833"/>
                    <a:pt x="572" y="845"/>
                  </a:cubicBezTo>
                  <a:cubicBezTo>
                    <a:pt x="572" y="866"/>
                    <a:pt x="572" y="866"/>
                    <a:pt x="572" y="866"/>
                  </a:cubicBezTo>
                  <a:cubicBezTo>
                    <a:pt x="572" y="878"/>
                    <a:pt x="582" y="888"/>
                    <a:pt x="594" y="888"/>
                  </a:cubicBezTo>
                  <a:cubicBezTo>
                    <a:pt x="654" y="888"/>
                    <a:pt x="654" y="888"/>
                    <a:pt x="654" y="888"/>
                  </a:cubicBezTo>
                  <a:cubicBezTo>
                    <a:pt x="666" y="888"/>
                    <a:pt x="676" y="878"/>
                    <a:pt x="676" y="866"/>
                  </a:cubicBezTo>
                  <a:close/>
                  <a:moveTo>
                    <a:pt x="843" y="866"/>
                  </a:moveTo>
                  <a:cubicBezTo>
                    <a:pt x="843" y="845"/>
                    <a:pt x="843" y="845"/>
                    <a:pt x="843" y="845"/>
                  </a:cubicBezTo>
                  <a:cubicBezTo>
                    <a:pt x="843" y="833"/>
                    <a:pt x="833" y="823"/>
                    <a:pt x="821" y="823"/>
                  </a:cubicBezTo>
                  <a:cubicBezTo>
                    <a:pt x="760" y="823"/>
                    <a:pt x="760" y="823"/>
                    <a:pt x="760" y="823"/>
                  </a:cubicBezTo>
                  <a:cubicBezTo>
                    <a:pt x="748" y="823"/>
                    <a:pt x="738" y="833"/>
                    <a:pt x="738" y="845"/>
                  </a:cubicBezTo>
                  <a:cubicBezTo>
                    <a:pt x="738" y="866"/>
                    <a:pt x="738" y="866"/>
                    <a:pt x="738" y="866"/>
                  </a:cubicBezTo>
                  <a:cubicBezTo>
                    <a:pt x="738" y="878"/>
                    <a:pt x="748" y="888"/>
                    <a:pt x="760" y="888"/>
                  </a:cubicBezTo>
                  <a:cubicBezTo>
                    <a:pt x="821" y="888"/>
                    <a:pt x="821" y="888"/>
                    <a:pt x="821" y="888"/>
                  </a:cubicBezTo>
                  <a:cubicBezTo>
                    <a:pt x="833" y="888"/>
                    <a:pt x="843" y="878"/>
                    <a:pt x="843" y="866"/>
                  </a:cubicBez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62" name="Freeform 26">
              <a:extLst>
                <a:ext uri="{FF2B5EF4-FFF2-40B4-BE49-F238E27FC236}">
                  <a16:creationId xmlns:a16="http://schemas.microsoft.com/office/drawing/2014/main" xmlns="" id="{BB833497-D78A-4A47-B740-DCACD718D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8" y="711"/>
              <a:ext cx="3380" cy="2885"/>
            </a:xfrm>
            <a:custGeom>
              <a:avLst/>
              <a:gdLst>
                <a:gd name="T0" fmla="*/ 23 w 1804"/>
                <a:gd name="T1" fmla="*/ 1178 h 1539"/>
                <a:gd name="T2" fmla="*/ 1 w 1804"/>
                <a:gd name="T3" fmla="*/ 1517 h 1539"/>
                <a:gd name="T4" fmla="*/ 1781 w 1804"/>
                <a:gd name="T5" fmla="*/ 1539 h 1539"/>
                <a:gd name="T6" fmla="*/ 1803 w 1804"/>
                <a:gd name="T7" fmla="*/ 1200 h 1539"/>
                <a:gd name="T8" fmla="*/ 902 w 1804"/>
                <a:gd name="T9" fmla="*/ 1413 h 1539"/>
                <a:gd name="T10" fmla="*/ 902 w 1804"/>
                <a:gd name="T11" fmla="*/ 1303 h 1539"/>
                <a:gd name="T12" fmla="*/ 902 w 1804"/>
                <a:gd name="T13" fmla="*/ 1413 h 1539"/>
                <a:gd name="T14" fmla="*/ 1684 w 1804"/>
                <a:gd name="T15" fmla="*/ 605 h 1539"/>
                <a:gd name="T16" fmla="*/ 1662 w 1804"/>
                <a:gd name="T17" fmla="*/ 319 h 1539"/>
                <a:gd name="T18" fmla="*/ 1355 w 1804"/>
                <a:gd name="T19" fmla="*/ 288 h 1539"/>
                <a:gd name="T20" fmla="*/ 1547 w 1804"/>
                <a:gd name="T21" fmla="*/ 266 h 1539"/>
                <a:gd name="T22" fmla="*/ 1525 w 1804"/>
                <a:gd name="T23" fmla="*/ 0 h 1539"/>
                <a:gd name="T24" fmla="*/ 943 w 1804"/>
                <a:gd name="T25" fmla="*/ 22 h 1539"/>
                <a:gd name="T26" fmla="*/ 965 w 1804"/>
                <a:gd name="T27" fmla="*/ 288 h 1539"/>
                <a:gd name="T28" fmla="*/ 1135 w 1804"/>
                <a:gd name="T29" fmla="*/ 319 h 1539"/>
                <a:gd name="T30" fmla="*/ 828 w 1804"/>
                <a:gd name="T31" fmla="*/ 363 h 1539"/>
                <a:gd name="T32" fmla="*/ 1640 w 1804"/>
                <a:gd name="T33" fmla="*/ 608 h 1539"/>
                <a:gd name="T34" fmla="*/ 1760 w 1804"/>
                <a:gd name="T35" fmla="*/ 979 h 1539"/>
                <a:gd name="T36" fmla="*/ 44 w 1804"/>
                <a:gd name="T37" fmla="*/ 1103 h 1539"/>
                <a:gd name="T38" fmla="*/ 163 w 1804"/>
                <a:gd name="T39" fmla="*/ 615 h 1539"/>
                <a:gd name="T40" fmla="*/ 164 w 1804"/>
                <a:gd name="T41" fmla="*/ 363 h 1539"/>
                <a:gd name="T42" fmla="*/ 331 w 1804"/>
                <a:gd name="T43" fmla="*/ 319 h 1539"/>
                <a:gd name="T44" fmla="*/ 120 w 1804"/>
                <a:gd name="T45" fmla="*/ 341 h 1539"/>
                <a:gd name="T46" fmla="*/ 1 w 1804"/>
                <a:gd name="T47" fmla="*/ 969 h 1539"/>
                <a:gd name="T48" fmla="*/ 0 w 1804"/>
                <a:gd name="T49" fmla="*/ 1125 h 1539"/>
                <a:gd name="T50" fmla="*/ 1782 w 1804"/>
                <a:gd name="T51" fmla="*/ 1147 h 1539"/>
                <a:gd name="T52" fmla="*/ 1804 w 1804"/>
                <a:gd name="T53" fmla="*/ 976 h 1539"/>
                <a:gd name="T54" fmla="*/ 987 w 1804"/>
                <a:gd name="T55" fmla="*/ 44 h 1539"/>
                <a:gd name="T56" fmla="*/ 1503 w 1804"/>
                <a:gd name="T57" fmla="*/ 244 h 1539"/>
                <a:gd name="T58" fmla="*/ 987 w 1804"/>
                <a:gd name="T59" fmla="*/ 44 h 1539"/>
                <a:gd name="T60" fmla="*/ 828 w 1804"/>
                <a:gd name="T61" fmla="*/ 649 h 1539"/>
                <a:gd name="T62" fmla="*/ 820 w 1804"/>
                <a:gd name="T63" fmla="*/ 679 h 1539"/>
                <a:gd name="T64" fmla="*/ 784 w 1804"/>
                <a:gd name="T65" fmla="*/ 144 h 1539"/>
                <a:gd name="T66" fmla="*/ 397 w 1804"/>
                <a:gd name="T67" fmla="*/ 122 h 1539"/>
                <a:gd name="T68" fmla="*/ 375 w 1804"/>
                <a:gd name="T69" fmla="*/ 679 h 1539"/>
                <a:gd name="T70" fmla="*/ 323 w 1804"/>
                <a:gd name="T71" fmla="*/ 663 h 1539"/>
                <a:gd name="T72" fmla="*/ 331 w 1804"/>
                <a:gd name="T73" fmla="*/ 604 h 1539"/>
                <a:gd name="T74" fmla="*/ 339 w 1804"/>
                <a:gd name="T75" fmla="*/ 723 h 1539"/>
                <a:gd name="T76" fmla="*/ 762 w 1804"/>
                <a:gd name="T77" fmla="*/ 723 h 1539"/>
                <a:gd name="T78" fmla="*/ 880 w 1804"/>
                <a:gd name="T79" fmla="*/ 663 h 1539"/>
                <a:gd name="T80" fmla="*/ 740 w 1804"/>
                <a:gd name="T81" fmla="*/ 679 h 1539"/>
                <a:gd name="T82" fmla="*/ 419 w 1804"/>
                <a:gd name="T83" fmla="*/ 166 h 1539"/>
                <a:gd name="T84" fmla="*/ 740 w 1804"/>
                <a:gd name="T85" fmla="*/ 679 h 1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4" h="1539">
                  <a:moveTo>
                    <a:pt x="1781" y="1178"/>
                  </a:moveTo>
                  <a:cubicBezTo>
                    <a:pt x="23" y="1178"/>
                    <a:pt x="23" y="1178"/>
                    <a:pt x="23" y="1178"/>
                  </a:cubicBezTo>
                  <a:cubicBezTo>
                    <a:pt x="11" y="1178"/>
                    <a:pt x="1" y="1188"/>
                    <a:pt x="1" y="1200"/>
                  </a:cubicBezTo>
                  <a:cubicBezTo>
                    <a:pt x="1" y="1517"/>
                    <a:pt x="1" y="1517"/>
                    <a:pt x="1" y="1517"/>
                  </a:cubicBezTo>
                  <a:cubicBezTo>
                    <a:pt x="1" y="1529"/>
                    <a:pt x="11" y="1539"/>
                    <a:pt x="23" y="1539"/>
                  </a:cubicBezTo>
                  <a:cubicBezTo>
                    <a:pt x="1781" y="1539"/>
                    <a:pt x="1781" y="1539"/>
                    <a:pt x="1781" y="1539"/>
                  </a:cubicBezTo>
                  <a:cubicBezTo>
                    <a:pt x="1793" y="1539"/>
                    <a:pt x="1803" y="1529"/>
                    <a:pt x="1803" y="1517"/>
                  </a:cubicBezTo>
                  <a:cubicBezTo>
                    <a:pt x="1803" y="1200"/>
                    <a:pt x="1803" y="1200"/>
                    <a:pt x="1803" y="1200"/>
                  </a:cubicBezTo>
                  <a:cubicBezTo>
                    <a:pt x="1803" y="1188"/>
                    <a:pt x="1793" y="1178"/>
                    <a:pt x="1781" y="1178"/>
                  </a:cubicBezTo>
                  <a:close/>
                  <a:moveTo>
                    <a:pt x="902" y="1413"/>
                  </a:moveTo>
                  <a:cubicBezTo>
                    <a:pt x="872" y="1413"/>
                    <a:pt x="847" y="1389"/>
                    <a:pt x="847" y="1358"/>
                  </a:cubicBezTo>
                  <a:cubicBezTo>
                    <a:pt x="847" y="1328"/>
                    <a:pt x="872" y="1303"/>
                    <a:pt x="902" y="1303"/>
                  </a:cubicBezTo>
                  <a:cubicBezTo>
                    <a:pt x="932" y="1303"/>
                    <a:pt x="957" y="1328"/>
                    <a:pt x="957" y="1358"/>
                  </a:cubicBezTo>
                  <a:cubicBezTo>
                    <a:pt x="957" y="1389"/>
                    <a:pt x="932" y="1413"/>
                    <a:pt x="902" y="1413"/>
                  </a:cubicBezTo>
                  <a:close/>
                  <a:moveTo>
                    <a:pt x="1803" y="969"/>
                  </a:moveTo>
                  <a:cubicBezTo>
                    <a:pt x="1684" y="605"/>
                    <a:pt x="1684" y="605"/>
                    <a:pt x="1684" y="605"/>
                  </a:cubicBezTo>
                  <a:cubicBezTo>
                    <a:pt x="1684" y="341"/>
                    <a:pt x="1684" y="341"/>
                    <a:pt x="1684" y="341"/>
                  </a:cubicBezTo>
                  <a:cubicBezTo>
                    <a:pt x="1684" y="329"/>
                    <a:pt x="1674" y="319"/>
                    <a:pt x="1662" y="319"/>
                  </a:cubicBezTo>
                  <a:cubicBezTo>
                    <a:pt x="1355" y="319"/>
                    <a:pt x="1355" y="319"/>
                    <a:pt x="1355" y="319"/>
                  </a:cubicBezTo>
                  <a:cubicBezTo>
                    <a:pt x="1355" y="288"/>
                    <a:pt x="1355" y="288"/>
                    <a:pt x="1355" y="288"/>
                  </a:cubicBezTo>
                  <a:cubicBezTo>
                    <a:pt x="1525" y="288"/>
                    <a:pt x="1525" y="288"/>
                    <a:pt x="1525" y="288"/>
                  </a:cubicBezTo>
                  <a:cubicBezTo>
                    <a:pt x="1537" y="288"/>
                    <a:pt x="1547" y="278"/>
                    <a:pt x="1547" y="266"/>
                  </a:cubicBezTo>
                  <a:cubicBezTo>
                    <a:pt x="1547" y="22"/>
                    <a:pt x="1547" y="22"/>
                    <a:pt x="1547" y="22"/>
                  </a:cubicBezTo>
                  <a:cubicBezTo>
                    <a:pt x="1547" y="10"/>
                    <a:pt x="1537" y="0"/>
                    <a:pt x="1525" y="0"/>
                  </a:cubicBezTo>
                  <a:cubicBezTo>
                    <a:pt x="965" y="0"/>
                    <a:pt x="965" y="0"/>
                    <a:pt x="965" y="0"/>
                  </a:cubicBezTo>
                  <a:cubicBezTo>
                    <a:pt x="953" y="0"/>
                    <a:pt x="943" y="10"/>
                    <a:pt x="943" y="22"/>
                  </a:cubicBezTo>
                  <a:cubicBezTo>
                    <a:pt x="943" y="266"/>
                    <a:pt x="943" y="266"/>
                    <a:pt x="943" y="266"/>
                  </a:cubicBezTo>
                  <a:cubicBezTo>
                    <a:pt x="943" y="278"/>
                    <a:pt x="953" y="288"/>
                    <a:pt x="965" y="288"/>
                  </a:cubicBezTo>
                  <a:cubicBezTo>
                    <a:pt x="1135" y="288"/>
                    <a:pt x="1135" y="288"/>
                    <a:pt x="1135" y="288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828" y="319"/>
                    <a:pt x="828" y="319"/>
                    <a:pt x="828" y="319"/>
                  </a:cubicBezTo>
                  <a:cubicBezTo>
                    <a:pt x="828" y="363"/>
                    <a:pt x="828" y="363"/>
                    <a:pt x="828" y="363"/>
                  </a:cubicBezTo>
                  <a:cubicBezTo>
                    <a:pt x="1640" y="363"/>
                    <a:pt x="1640" y="363"/>
                    <a:pt x="1640" y="363"/>
                  </a:cubicBezTo>
                  <a:cubicBezTo>
                    <a:pt x="1640" y="608"/>
                    <a:pt x="1640" y="608"/>
                    <a:pt x="1640" y="608"/>
                  </a:cubicBezTo>
                  <a:cubicBezTo>
                    <a:pt x="1640" y="610"/>
                    <a:pt x="1640" y="613"/>
                    <a:pt x="1641" y="615"/>
                  </a:cubicBezTo>
                  <a:cubicBezTo>
                    <a:pt x="1760" y="979"/>
                    <a:pt x="1760" y="979"/>
                    <a:pt x="1760" y="979"/>
                  </a:cubicBezTo>
                  <a:cubicBezTo>
                    <a:pt x="1760" y="1103"/>
                    <a:pt x="1760" y="1103"/>
                    <a:pt x="1760" y="1103"/>
                  </a:cubicBezTo>
                  <a:cubicBezTo>
                    <a:pt x="44" y="1103"/>
                    <a:pt x="44" y="1103"/>
                    <a:pt x="44" y="1103"/>
                  </a:cubicBezTo>
                  <a:cubicBezTo>
                    <a:pt x="44" y="979"/>
                    <a:pt x="44" y="979"/>
                    <a:pt x="44" y="979"/>
                  </a:cubicBezTo>
                  <a:cubicBezTo>
                    <a:pt x="163" y="615"/>
                    <a:pt x="163" y="615"/>
                    <a:pt x="163" y="615"/>
                  </a:cubicBezTo>
                  <a:cubicBezTo>
                    <a:pt x="164" y="613"/>
                    <a:pt x="164" y="610"/>
                    <a:pt x="164" y="608"/>
                  </a:cubicBezTo>
                  <a:cubicBezTo>
                    <a:pt x="164" y="363"/>
                    <a:pt x="164" y="363"/>
                    <a:pt x="164" y="363"/>
                  </a:cubicBezTo>
                  <a:cubicBezTo>
                    <a:pt x="331" y="363"/>
                    <a:pt x="331" y="363"/>
                    <a:pt x="331" y="363"/>
                  </a:cubicBezTo>
                  <a:cubicBezTo>
                    <a:pt x="331" y="319"/>
                    <a:pt x="331" y="319"/>
                    <a:pt x="331" y="319"/>
                  </a:cubicBezTo>
                  <a:cubicBezTo>
                    <a:pt x="142" y="319"/>
                    <a:pt x="142" y="319"/>
                    <a:pt x="142" y="319"/>
                  </a:cubicBezTo>
                  <a:cubicBezTo>
                    <a:pt x="130" y="319"/>
                    <a:pt x="120" y="329"/>
                    <a:pt x="120" y="341"/>
                  </a:cubicBezTo>
                  <a:cubicBezTo>
                    <a:pt x="120" y="605"/>
                    <a:pt x="120" y="605"/>
                    <a:pt x="120" y="605"/>
                  </a:cubicBezTo>
                  <a:cubicBezTo>
                    <a:pt x="1" y="969"/>
                    <a:pt x="1" y="969"/>
                    <a:pt x="1" y="969"/>
                  </a:cubicBezTo>
                  <a:cubicBezTo>
                    <a:pt x="0" y="971"/>
                    <a:pt x="0" y="974"/>
                    <a:pt x="0" y="976"/>
                  </a:cubicBezTo>
                  <a:cubicBezTo>
                    <a:pt x="0" y="1125"/>
                    <a:pt x="0" y="1125"/>
                    <a:pt x="0" y="1125"/>
                  </a:cubicBezTo>
                  <a:cubicBezTo>
                    <a:pt x="0" y="1137"/>
                    <a:pt x="10" y="1147"/>
                    <a:pt x="22" y="1147"/>
                  </a:cubicBezTo>
                  <a:cubicBezTo>
                    <a:pt x="1782" y="1147"/>
                    <a:pt x="1782" y="1147"/>
                    <a:pt x="1782" y="1147"/>
                  </a:cubicBezTo>
                  <a:cubicBezTo>
                    <a:pt x="1794" y="1147"/>
                    <a:pt x="1804" y="1137"/>
                    <a:pt x="1804" y="1125"/>
                  </a:cubicBezTo>
                  <a:cubicBezTo>
                    <a:pt x="1804" y="976"/>
                    <a:pt x="1804" y="976"/>
                    <a:pt x="1804" y="976"/>
                  </a:cubicBezTo>
                  <a:cubicBezTo>
                    <a:pt x="1804" y="974"/>
                    <a:pt x="1804" y="971"/>
                    <a:pt x="1803" y="969"/>
                  </a:cubicBezTo>
                  <a:close/>
                  <a:moveTo>
                    <a:pt x="987" y="44"/>
                  </a:moveTo>
                  <a:cubicBezTo>
                    <a:pt x="1503" y="44"/>
                    <a:pt x="1503" y="44"/>
                    <a:pt x="1503" y="44"/>
                  </a:cubicBezTo>
                  <a:cubicBezTo>
                    <a:pt x="1503" y="244"/>
                    <a:pt x="1503" y="244"/>
                    <a:pt x="1503" y="244"/>
                  </a:cubicBezTo>
                  <a:cubicBezTo>
                    <a:pt x="987" y="244"/>
                    <a:pt x="987" y="244"/>
                    <a:pt x="987" y="244"/>
                  </a:cubicBezTo>
                  <a:lnTo>
                    <a:pt x="987" y="44"/>
                  </a:lnTo>
                  <a:close/>
                  <a:moveTo>
                    <a:pt x="828" y="604"/>
                  </a:moveTo>
                  <a:cubicBezTo>
                    <a:pt x="828" y="649"/>
                    <a:pt x="828" y="649"/>
                    <a:pt x="828" y="649"/>
                  </a:cubicBezTo>
                  <a:cubicBezTo>
                    <a:pt x="833" y="652"/>
                    <a:pt x="836" y="657"/>
                    <a:pt x="836" y="663"/>
                  </a:cubicBezTo>
                  <a:cubicBezTo>
                    <a:pt x="836" y="672"/>
                    <a:pt x="829" y="679"/>
                    <a:pt x="820" y="679"/>
                  </a:cubicBezTo>
                  <a:cubicBezTo>
                    <a:pt x="784" y="679"/>
                    <a:pt x="784" y="679"/>
                    <a:pt x="784" y="679"/>
                  </a:cubicBezTo>
                  <a:cubicBezTo>
                    <a:pt x="784" y="144"/>
                    <a:pt x="784" y="144"/>
                    <a:pt x="784" y="144"/>
                  </a:cubicBezTo>
                  <a:cubicBezTo>
                    <a:pt x="784" y="132"/>
                    <a:pt x="774" y="122"/>
                    <a:pt x="762" y="122"/>
                  </a:cubicBezTo>
                  <a:cubicBezTo>
                    <a:pt x="397" y="122"/>
                    <a:pt x="397" y="122"/>
                    <a:pt x="397" y="122"/>
                  </a:cubicBezTo>
                  <a:cubicBezTo>
                    <a:pt x="385" y="122"/>
                    <a:pt x="375" y="132"/>
                    <a:pt x="375" y="144"/>
                  </a:cubicBezTo>
                  <a:cubicBezTo>
                    <a:pt x="375" y="679"/>
                    <a:pt x="375" y="679"/>
                    <a:pt x="375" y="679"/>
                  </a:cubicBezTo>
                  <a:cubicBezTo>
                    <a:pt x="339" y="679"/>
                    <a:pt x="339" y="679"/>
                    <a:pt x="339" y="679"/>
                  </a:cubicBezTo>
                  <a:cubicBezTo>
                    <a:pt x="330" y="679"/>
                    <a:pt x="323" y="672"/>
                    <a:pt x="323" y="663"/>
                  </a:cubicBezTo>
                  <a:cubicBezTo>
                    <a:pt x="323" y="657"/>
                    <a:pt x="326" y="652"/>
                    <a:pt x="331" y="649"/>
                  </a:cubicBezTo>
                  <a:cubicBezTo>
                    <a:pt x="331" y="604"/>
                    <a:pt x="331" y="604"/>
                    <a:pt x="331" y="604"/>
                  </a:cubicBezTo>
                  <a:cubicBezTo>
                    <a:pt x="301" y="608"/>
                    <a:pt x="279" y="633"/>
                    <a:pt x="279" y="663"/>
                  </a:cubicBezTo>
                  <a:cubicBezTo>
                    <a:pt x="279" y="696"/>
                    <a:pt x="306" y="723"/>
                    <a:pt x="339" y="723"/>
                  </a:cubicBezTo>
                  <a:cubicBezTo>
                    <a:pt x="397" y="723"/>
                    <a:pt x="397" y="723"/>
                    <a:pt x="397" y="723"/>
                  </a:cubicBezTo>
                  <a:cubicBezTo>
                    <a:pt x="762" y="723"/>
                    <a:pt x="762" y="723"/>
                    <a:pt x="762" y="723"/>
                  </a:cubicBezTo>
                  <a:cubicBezTo>
                    <a:pt x="820" y="723"/>
                    <a:pt x="820" y="723"/>
                    <a:pt x="820" y="723"/>
                  </a:cubicBezTo>
                  <a:cubicBezTo>
                    <a:pt x="853" y="723"/>
                    <a:pt x="880" y="696"/>
                    <a:pt x="880" y="663"/>
                  </a:cubicBezTo>
                  <a:cubicBezTo>
                    <a:pt x="880" y="633"/>
                    <a:pt x="857" y="608"/>
                    <a:pt x="828" y="604"/>
                  </a:cubicBezTo>
                  <a:close/>
                  <a:moveTo>
                    <a:pt x="740" y="679"/>
                  </a:moveTo>
                  <a:cubicBezTo>
                    <a:pt x="419" y="679"/>
                    <a:pt x="419" y="679"/>
                    <a:pt x="419" y="679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740" y="166"/>
                    <a:pt x="740" y="166"/>
                    <a:pt x="740" y="166"/>
                  </a:cubicBezTo>
                  <a:lnTo>
                    <a:pt x="740" y="679"/>
                  </a:ln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355496" y="2142154"/>
            <a:ext cx="993862" cy="153888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sz="1000" dirty="0">
                <a:solidFill>
                  <a:srgbClr val="595959"/>
                </a:solidFill>
                <a:latin typeface="PT Sans Caption" panose="020B0603020203020204" pitchFamily="34" charset="0"/>
                <a:sym typeface="PT Sans Caption" panose="020B0603020203020204" pitchFamily="34" charset="0"/>
              </a:rPr>
              <a:t>Производитель</a:t>
            </a:r>
          </a:p>
        </p:txBody>
      </p:sp>
      <p:grpSp>
        <p:nvGrpSpPr>
          <p:cNvPr id="207" name="Group 206"/>
          <p:cNvGrpSpPr>
            <a:grpSpLocks noChangeAspect="1"/>
          </p:cNvGrpSpPr>
          <p:nvPr/>
        </p:nvGrpSpPr>
        <p:grpSpPr>
          <a:xfrm>
            <a:off x="3593936" y="3155475"/>
            <a:ext cx="457200" cy="457200"/>
            <a:chOff x="5278438" y="2605088"/>
            <a:chExt cx="1646237" cy="1646237"/>
          </a:xfrm>
        </p:grpSpPr>
        <p:sp>
          <p:nvSpPr>
            <p:cNvPr id="208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09" name="Group 208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210" name="Freeform 209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11" name="Freeform 210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202" name="Group 201"/>
          <p:cNvGrpSpPr>
            <a:grpSpLocks noChangeAspect="1"/>
          </p:cNvGrpSpPr>
          <p:nvPr/>
        </p:nvGrpSpPr>
        <p:grpSpPr>
          <a:xfrm>
            <a:off x="4313591" y="3559799"/>
            <a:ext cx="457200" cy="457200"/>
            <a:chOff x="5278438" y="2605088"/>
            <a:chExt cx="1646237" cy="1646237"/>
          </a:xfrm>
        </p:grpSpPr>
        <p:sp>
          <p:nvSpPr>
            <p:cNvPr id="20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04" name="Group 203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205" name="Freeform 204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06" name="Freeform 205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96" name="Group 195"/>
          <p:cNvGrpSpPr>
            <a:grpSpLocks noChangeAspect="1"/>
          </p:cNvGrpSpPr>
          <p:nvPr/>
        </p:nvGrpSpPr>
        <p:grpSpPr>
          <a:xfrm>
            <a:off x="5059939" y="3576600"/>
            <a:ext cx="457200" cy="457200"/>
            <a:chOff x="5278438" y="2605088"/>
            <a:chExt cx="1646237" cy="1646237"/>
          </a:xfrm>
        </p:grpSpPr>
        <p:sp>
          <p:nvSpPr>
            <p:cNvPr id="19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98" name="Group 197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99" name="Freeform 19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00" name="Freeform 19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91" name="Group 190"/>
          <p:cNvGrpSpPr>
            <a:grpSpLocks noChangeAspect="1"/>
          </p:cNvGrpSpPr>
          <p:nvPr/>
        </p:nvGrpSpPr>
        <p:grpSpPr>
          <a:xfrm>
            <a:off x="5803780" y="3182605"/>
            <a:ext cx="457200" cy="457200"/>
            <a:chOff x="5278438" y="2605088"/>
            <a:chExt cx="1646237" cy="1646237"/>
          </a:xfrm>
        </p:grpSpPr>
        <p:sp>
          <p:nvSpPr>
            <p:cNvPr id="19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93" name="Group 192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94" name="Freeform 19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95" name="Freeform 19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grpSp>
        <p:nvGrpSpPr>
          <p:cNvPr id="186" name="Group 185"/>
          <p:cNvGrpSpPr>
            <a:grpSpLocks noChangeAspect="1"/>
          </p:cNvGrpSpPr>
          <p:nvPr/>
        </p:nvGrpSpPr>
        <p:grpSpPr>
          <a:xfrm>
            <a:off x="6509640" y="2815802"/>
            <a:ext cx="457200" cy="457200"/>
            <a:chOff x="5278438" y="2605088"/>
            <a:chExt cx="1646237" cy="1646237"/>
          </a:xfrm>
        </p:grpSpPr>
        <p:sp>
          <p:nvSpPr>
            <p:cNvPr id="18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bg-BG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189" name="Freeform 18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connsiteX0" fmla="*/ 349250 w 695325"/>
                  <a:gd name="connsiteY0" fmla="*/ 1030288 h 1285875"/>
                  <a:gd name="connsiteX1" fmla="*/ 388938 w 695325"/>
                  <a:gd name="connsiteY1" fmla="*/ 1069976 h 1285875"/>
                  <a:gd name="connsiteX2" fmla="*/ 349250 w 695325"/>
                  <a:gd name="connsiteY2" fmla="*/ 1109664 h 1285875"/>
                  <a:gd name="connsiteX3" fmla="*/ 309562 w 695325"/>
                  <a:gd name="connsiteY3" fmla="*/ 1069976 h 1285875"/>
                  <a:gd name="connsiteX4" fmla="*/ 349250 w 695325"/>
                  <a:gd name="connsiteY4" fmla="*/ 1030288 h 1285875"/>
                  <a:gd name="connsiteX5" fmla="*/ 477899 w 695325"/>
                  <a:gd name="connsiteY5" fmla="*/ 496888 h 1285875"/>
                  <a:gd name="connsiteX6" fmla="*/ 520638 w 695325"/>
                  <a:gd name="connsiteY6" fmla="*/ 496888 h 1285875"/>
                  <a:gd name="connsiteX7" fmla="*/ 536574 w 695325"/>
                  <a:gd name="connsiteY7" fmla="*/ 512763 h 1285875"/>
                  <a:gd name="connsiteX8" fmla="*/ 520638 w 695325"/>
                  <a:gd name="connsiteY8" fmla="*/ 528638 h 1285875"/>
                  <a:gd name="connsiteX9" fmla="*/ 477899 w 695325"/>
                  <a:gd name="connsiteY9" fmla="*/ 528638 h 1285875"/>
                  <a:gd name="connsiteX10" fmla="*/ 461962 w 695325"/>
                  <a:gd name="connsiteY10" fmla="*/ 512763 h 1285875"/>
                  <a:gd name="connsiteX11" fmla="*/ 477899 w 695325"/>
                  <a:gd name="connsiteY11" fmla="*/ 496888 h 1285875"/>
                  <a:gd name="connsiteX12" fmla="*/ 477899 w 695325"/>
                  <a:gd name="connsiteY12" fmla="*/ 241300 h 1285875"/>
                  <a:gd name="connsiteX13" fmla="*/ 520638 w 695325"/>
                  <a:gd name="connsiteY13" fmla="*/ 241300 h 1285875"/>
                  <a:gd name="connsiteX14" fmla="*/ 536574 w 695325"/>
                  <a:gd name="connsiteY14" fmla="*/ 257175 h 1285875"/>
                  <a:gd name="connsiteX15" fmla="*/ 520638 w 695325"/>
                  <a:gd name="connsiteY15" fmla="*/ 273050 h 1285875"/>
                  <a:gd name="connsiteX16" fmla="*/ 477899 w 695325"/>
                  <a:gd name="connsiteY16" fmla="*/ 273050 h 1285875"/>
                  <a:gd name="connsiteX17" fmla="*/ 461962 w 695325"/>
                  <a:gd name="connsiteY17" fmla="*/ 257175 h 1285875"/>
                  <a:gd name="connsiteX18" fmla="*/ 477899 w 695325"/>
                  <a:gd name="connsiteY18" fmla="*/ 241300 h 1285875"/>
                  <a:gd name="connsiteX19" fmla="*/ 97506 w 695325"/>
                  <a:gd name="connsiteY19" fmla="*/ 30163 h 1285875"/>
                  <a:gd name="connsiteX20" fmla="*/ 31750 w 695325"/>
                  <a:gd name="connsiteY20" fmla="*/ 96613 h 1285875"/>
                  <a:gd name="connsiteX21" fmla="*/ 31750 w 695325"/>
                  <a:gd name="connsiteY21" fmla="*/ 1188390 h 1285875"/>
                  <a:gd name="connsiteX22" fmla="*/ 97506 w 695325"/>
                  <a:gd name="connsiteY22" fmla="*/ 1254125 h 1285875"/>
                  <a:gd name="connsiteX23" fmla="*/ 597105 w 695325"/>
                  <a:gd name="connsiteY23" fmla="*/ 1254125 h 1285875"/>
                  <a:gd name="connsiteX24" fmla="*/ 663575 w 695325"/>
                  <a:gd name="connsiteY24" fmla="*/ 1188390 h 1285875"/>
                  <a:gd name="connsiteX25" fmla="*/ 663575 w 695325"/>
                  <a:gd name="connsiteY25" fmla="*/ 96613 h 1285875"/>
                  <a:gd name="connsiteX26" fmla="*/ 597105 w 695325"/>
                  <a:gd name="connsiteY26" fmla="*/ 30163 h 1285875"/>
                  <a:gd name="connsiteX27" fmla="*/ 97506 w 695325"/>
                  <a:gd name="connsiteY27" fmla="*/ 30163 h 1285875"/>
                  <a:gd name="connsiteX28" fmla="*/ 97289 w 695325"/>
                  <a:gd name="connsiteY28" fmla="*/ 0 h 1285875"/>
                  <a:gd name="connsiteX29" fmla="*/ 597322 w 695325"/>
                  <a:gd name="connsiteY29" fmla="*/ 0 h 1285875"/>
                  <a:gd name="connsiteX30" fmla="*/ 695325 w 695325"/>
                  <a:gd name="connsiteY30" fmla="*/ 97815 h 1285875"/>
                  <a:gd name="connsiteX31" fmla="*/ 695325 w 695325"/>
                  <a:gd name="connsiteY31" fmla="*/ 1188774 h 1285875"/>
                  <a:gd name="connsiteX32" fmla="*/ 597322 w 695325"/>
                  <a:gd name="connsiteY32" fmla="*/ 1285875 h 1285875"/>
                  <a:gd name="connsiteX33" fmla="*/ 97289 w 695325"/>
                  <a:gd name="connsiteY33" fmla="*/ 1285875 h 1285875"/>
                  <a:gd name="connsiteX34" fmla="*/ 0 w 695325"/>
                  <a:gd name="connsiteY34" fmla="*/ 1188774 h 1285875"/>
                  <a:gd name="connsiteX35" fmla="*/ 0 w 695325"/>
                  <a:gd name="connsiteY35" fmla="*/ 97815 h 1285875"/>
                  <a:gd name="connsiteX36" fmla="*/ 97289 w 695325"/>
                  <a:gd name="connsiteY36" fmla="*/ 0 h 1285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190" name="Freeform 18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connsiteX0" fmla="*/ 285750 w 569912"/>
                  <a:gd name="connsiteY0" fmla="*/ 928688 h 1158875"/>
                  <a:gd name="connsiteX1" fmla="*/ 209550 w 569912"/>
                  <a:gd name="connsiteY1" fmla="*/ 1005682 h 1158875"/>
                  <a:gd name="connsiteX2" fmla="*/ 285750 w 569912"/>
                  <a:gd name="connsiteY2" fmla="*/ 1082676 h 1158875"/>
                  <a:gd name="connsiteX3" fmla="*/ 361950 w 569912"/>
                  <a:gd name="connsiteY3" fmla="*/ 1005682 h 1158875"/>
                  <a:gd name="connsiteX4" fmla="*/ 285750 w 569912"/>
                  <a:gd name="connsiteY4" fmla="*/ 928688 h 1158875"/>
                  <a:gd name="connsiteX5" fmla="*/ 82394 w 569912"/>
                  <a:gd name="connsiteY5" fmla="*/ 801688 h 1158875"/>
                  <a:gd name="connsiteX6" fmla="*/ 66675 w 569912"/>
                  <a:gd name="connsiteY6" fmla="*/ 817136 h 1158875"/>
                  <a:gd name="connsiteX7" fmla="*/ 66675 w 569912"/>
                  <a:gd name="connsiteY7" fmla="*/ 823455 h 1158875"/>
                  <a:gd name="connsiteX8" fmla="*/ 82394 w 569912"/>
                  <a:gd name="connsiteY8" fmla="*/ 838200 h 1158875"/>
                  <a:gd name="connsiteX9" fmla="*/ 487518 w 569912"/>
                  <a:gd name="connsiteY9" fmla="*/ 838200 h 1158875"/>
                  <a:gd name="connsiteX10" fmla="*/ 503237 w 569912"/>
                  <a:gd name="connsiteY10" fmla="*/ 823455 h 1158875"/>
                  <a:gd name="connsiteX11" fmla="*/ 503237 w 569912"/>
                  <a:gd name="connsiteY11" fmla="*/ 817136 h 1158875"/>
                  <a:gd name="connsiteX12" fmla="*/ 487518 w 569912"/>
                  <a:gd name="connsiteY12" fmla="*/ 801688 h 1158875"/>
                  <a:gd name="connsiteX13" fmla="*/ 82394 w 569912"/>
                  <a:gd name="connsiteY13" fmla="*/ 801688 h 1158875"/>
                  <a:gd name="connsiteX14" fmla="*/ 83956 w 569912"/>
                  <a:gd name="connsiteY14" fmla="*/ 706438 h 1158875"/>
                  <a:gd name="connsiteX15" fmla="*/ 68262 w 569912"/>
                  <a:gd name="connsiteY15" fmla="*/ 722253 h 1158875"/>
                  <a:gd name="connsiteX16" fmla="*/ 68262 w 569912"/>
                  <a:gd name="connsiteY16" fmla="*/ 728723 h 1158875"/>
                  <a:gd name="connsiteX17" fmla="*/ 83956 w 569912"/>
                  <a:gd name="connsiteY17" fmla="*/ 744538 h 1158875"/>
                  <a:gd name="connsiteX18" fmla="*/ 488417 w 569912"/>
                  <a:gd name="connsiteY18" fmla="*/ 744538 h 1158875"/>
                  <a:gd name="connsiteX19" fmla="*/ 504824 w 569912"/>
                  <a:gd name="connsiteY19" fmla="*/ 728723 h 1158875"/>
                  <a:gd name="connsiteX20" fmla="*/ 504824 w 569912"/>
                  <a:gd name="connsiteY20" fmla="*/ 722253 h 1158875"/>
                  <a:gd name="connsiteX21" fmla="*/ 488417 w 569912"/>
                  <a:gd name="connsiteY21" fmla="*/ 706438 h 1158875"/>
                  <a:gd name="connsiteX22" fmla="*/ 83956 w 569912"/>
                  <a:gd name="connsiteY22" fmla="*/ 706438 h 1158875"/>
                  <a:gd name="connsiteX23" fmla="*/ 83956 w 569912"/>
                  <a:gd name="connsiteY23" fmla="*/ 608013 h 1158875"/>
                  <a:gd name="connsiteX24" fmla="*/ 68262 w 569912"/>
                  <a:gd name="connsiteY24" fmla="*/ 623169 h 1158875"/>
                  <a:gd name="connsiteX25" fmla="*/ 68262 w 569912"/>
                  <a:gd name="connsiteY25" fmla="*/ 629369 h 1158875"/>
                  <a:gd name="connsiteX26" fmla="*/ 83956 w 569912"/>
                  <a:gd name="connsiteY26" fmla="*/ 644525 h 1158875"/>
                  <a:gd name="connsiteX27" fmla="*/ 488417 w 569912"/>
                  <a:gd name="connsiteY27" fmla="*/ 644525 h 1158875"/>
                  <a:gd name="connsiteX28" fmla="*/ 504824 w 569912"/>
                  <a:gd name="connsiteY28" fmla="*/ 629369 h 1158875"/>
                  <a:gd name="connsiteX29" fmla="*/ 504824 w 569912"/>
                  <a:gd name="connsiteY29" fmla="*/ 623169 h 1158875"/>
                  <a:gd name="connsiteX30" fmla="*/ 488417 w 569912"/>
                  <a:gd name="connsiteY30" fmla="*/ 608013 h 1158875"/>
                  <a:gd name="connsiteX31" fmla="*/ 83956 w 569912"/>
                  <a:gd name="connsiteY31" fmla="*/ 608013 h 1158875"/>
                  <a:gd name="connsiteX32" fmla="*/ 91733 w 569912"/>
                  <a:gd name="connsiteY32" fmla="*/ 315913 h 1158875"/>
                  <a:gd name="connsiteX33" fmla="*/ 66675 w 569912"/>
                  <a:gd name="connsiteY33" fmla="*/ 341049 h 1158875"/>
                  <a:gd name="connsiteX34" fmla="*/ 66675 w 569912"/>
                  <a:gd name="connsiteY34" fmla="*/ 471753 h 1158875"/>
                  <a:gd name="connsiteX35" fmla="*/ 91733 w 569912"/>
                  <a:gd name="connsiteY35" fmla="*/ 496888 h 1158875"/>
                  <a:gd name="connsiteX36" fmla="*/ 479052 w 569912"/>
                  <a:gd name="connsiteY36" fmla="*/ 496888 h 1158875"/>
                  <a:gd name="connsiteX37" fmla="*/ 504825 w 569912"/>
                  <a:gd name="connsiteY37" fmla="*/ 471753 h 1158875"/>
                  <a:gd name="connsiteX38" fmla="*/ 504825 w 569912"/>
                  <a:gd name="connsiteY38" fmla="*/ 341049 h 1158875"/>
                  <a:gd name="connsiteX39" fmla="*/ 479052 w 569912"/>
                  <a:gd name="connsiteY39" fmla="*/ 315913 h 1158875"/>
                  <a:gd name="connsiteX40" fmla="*/ 91733 w 569912"/>
                  <a:gd name="connsiteY40" fmla="*/ 315913 h 1158875"/>
                  <a:gd name="connsiteX41" fmla="*/ 91733 w 569912"/>
                  <a:gd name="connsiteY41" fmla="*/ 60325 h 1158875"/>
                  <a:gd name="connsiteX42" fmla="*/ 66675 w 569912"/>
                  <a:gd name="connsiteY42" fmla="*/ 85461 h 1158875"/>
                  <a:gd name="connsiteX43" fmla="*/ 66675 w 569912"/>
                  <a:gd name="connsiteY43" fmla="*/ 216165 h 1158875"/>
                  <a:gd name="connsiteX44" fmla="*/ 91733 w 569912"/>
                  <a:gd name="connsiteY44" fmla="*/ 241300 h 1158875"/>
                  <a:gd name="connsiteX45" fmla="*/ 479052 w 569912"/>
                  <a:gd name="connsiteY45" fmla="*/ 241300 h 1158875"/>
                  <a:gd name="connsiteX46" fmla="*/ 504825 w 569912"/>
                  <a:gd name="connsiteY46" fmla="*/ 216165 h 1158875"/>
                  <a:gd name="connsiteX47" fmla="*/ 504825 w 569912"/>
                  <a:gd name="connsiteY47" fmla="*/ 85461 h 1158875"/>
                  <a:gd name="connsiteX48" fmla="*/ 479052 w 569912"/>
                  <a:gd name="connsiteY48" fmla="*/ 60325 h 1158875"/>
                  <a:gd name="connsiteX49" fmla="*/ 91733 w 569912"/>
                  <a:gd name="connsiteY49" fmla="*/ 60325 h 1158875"/>
                  <a:gd name="connsiteX50" fmla="*/ 34324 w 569912"/>
                  <a:gd name="connsiteY50" fmla="*/ 0 h 1158875"/>
                  <a:gd name="connsiteX51" fmla="*/ 534874 w 569912"/>
                  <a:gd name="connsiteY51" fmla="*/ 0 h 1158875"/>
                  <a:gd name="connsiteX52" fmla="*/ 569912 w 569912"/>
                  <a:gd name="connsiteY52" fmla="*/ 34295 h 1158875"/>
                  <a:gd name="connsiteX53" fmla="*/ 569912 w 569912"/>
                  <a:gd name="connsiteY53" fmla="*/ 1124580 h 1158875"/>
                  <a:gd name="connsiteX54" fmla="*/ 534874 w 569912"/>
                  <a:gd name="connsiteY54" fmla="*/ 1158875 h 1158875"/>
                  <a:gd name="connsiteX55" fmla="*/ 34324 w 569912"/>
                  <a:gd name="connsiteY55" fmla="*/ 1158875 h 1158875"/>
                  <a:gd name="connsiteX56" fmla="*/ 0 w 569912"/>
                  <a:gd name="connsiteY56" fmla="*/ 1124580 h 1158875"/>
                  <a:gd name="connsiteX57" fmla="*/ 0 w 569912"/>
                  <a:gd name="connsiteY57" fmla="*/ 34295 h 1158875"/>
                  <a:gd name="connsiteX58" fmla="*/ 34324 w 569912"/>
                  <a:gd name="connsiteY58" fmla="*/ 0 h 1158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bg-BG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37" name="Заголовок 36">
            <a:extLst>
              <a:ext uri="{FF2B5EF4-FFF2-40B4-BE49-F238E27FC236}">
                <a16:creationId xmlns:a16="http://schemas.microsoft.com/office/drawing/2014/main" xmlns="" id="{92B8BF44-2C95-A044-8278-5644CD5B6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847" y="430207"/>
            <a:ext cx="10524228" cy="299184"/>
          </a:xfrm>
        </p:spPr>
        <p:txBody>
          <a:bodyPr/>
          <a:lstStyle/>
          <a:p>
            <a:r>
              <a:rPr lang="ru-RU" sz="2160" b="1" dirty="0"/>
              <a:t>Модель функционирования системы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348053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231" y="19383"/>
          <a:ext cx="1579" cy="15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231" y="19383"/>
                        <a:ext cx="1579" cy="15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6">
            <a:alphaModFix/>
          </a:blip>
          <a:srcRect l="-57" t="571" r="55" b="32592"/>
          <a:stretch/>
        </p:blipFill>
        <p:spPr>
          <a:xfrm>
            <a:off x="11339562" y="119787"/>
            <a:ext cx="727408" cy="936668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77" name="Title 1">
            <a:extLst>
              <a:ext uri="{FF2B5EF4-FFF2-40B4-BE49-F238E27FC236}">
                <a16:creationId xmlns:a16="http://schemas.microsoft.com/office/drawing/2014/main" xmlns="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567414" y="435849"/>
            <a:ext cx="10879446" cy="2994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39852"/>
            <a:r>
              <a:rPr lang="ru-RU" sz="2162" b="1" dirty="0">
                <a:latin typeface="PT Sans Caption" panose="020B0603020203020204"/>
                <a:sym typeface="+mj-lt"/>
              </a:rPr>
              <a:t>График обязательной маркировки</a:t>
            </a:r>
            <a:endParaRPr lang="bg-BG" sz="2162" b="1" dirty="0">
              <a:latin typeface="PT Sans Caption" panose="020B0603020203020204"/>
              <a:sym typeface="+mj-lt"/>
            </a:endParaRPr>
          </a:p>
        </p:txBody>
      </p:sp>
      <p:sp>
        <p:nvSpPr>
          <p:cNvPr id="111" name="Straight Arrow Connector 5">
            <a:extLst>
              <a:ext uri="{FF2B5EF4-FFF2-40B4-BE49-F238E27FC236}">
                <a16:creationId xmlns:a16="http://schemas.microsoft.com/office/drawing/2014/main" xmlns="" id="{779B25CE-A505-2D4B-B0D9-362472981681}"/>
              </a:ext>
            </a:extLst>
          </p:cNvPr>
          <p:cNvSpPr/>
          <p:nvPr/>
        </p:nvSpPr>
        <p:spPr>
          <a:xfrm>
            <a:off x="643900" y="2492436"/>
            <a:ext cx="10635727" cy="1"/>
          </a:xfrm>
          <a:prstGeom prst="line">
            <a:avLst/>
          </a:prstGeom>
          <a:ln w="19050" cap="rnd">
            <a:solidFill>
              <a:srgbClr val="58595B"/>
            </a:solidFill>
            <a:tailEnd type="triangle"/>
          </a:ln>
        </p:spPr>
        <p:txBody>
          <a:bodyPr lIns="45481" rIns="45481"/>
          <a:lstStyle/>
          <a:p>
            <a:pPr defTabSz="1215253"/>
            <a:endParaRPr lang="ru-RU" sz="2288" dirty="0">
              <a:solidFill>
                <a:srgbClr val="212121">
                  <a:lumOff val="21764"/>
                </a:srgbClr>
              </a:solidFill>
            </a:endParaRPr>
          </a:p>
        </p:txBody>
      </p:sp>
      <p:grpSp>
        <p:nvGrpSpPr>
          <p:cNvPr id="112" name="Group 18">
            <a:extLst>
              <a:ext uri="{FF2B5EF4-FFF2-40B4-BE49-F238E27FC236}">
                <a16:creationId xmlns:a16="http://schemas.microsoft.com/office/drawing/2014/main" xmlns="" id="{60A4AA09-7F79-9742-B766-F4EC19F7E51B}"/>
              </a:ext>
            </a:extLst>
          </p:cNvPr>
          <p:cNvGrpSpPr/>
          <p:nvPr/>
        </p:nvGrpSpPr>
        <p:grpSpPr>
          <a:xfrm>
            <a:off x="2708558" y="2778843"/>
            <a:ext cx="1237014" cy="668625"/>
            <a:chOff x="0" y="0"/>
            <a:chExt cx="1243468" cy="672113"/>
          </a:xfrm>
        </p:grpSpPr>
        <p:sp>
          <p:nvSpPr>
            <p:cNvPr id="113" name="TextBox 6">
              <a:extLst>
                <a:ext uri="{FF2B5EF4-FFF2-40B4-BE49-F238E27FC236}">
                  <a16:creationId xmlns:a16="http://schemas.microsoft.com/office/drawing/2014/main" xmlns="" id="{C02F887B-DDD8-A548-B2FF-BE78DB6BC7A6}"/>
                </a:ext>
              </a:extLst>
            </p:cNvPr>
            <p:cNvSpPr txBox="1"/>
            <p:nvPr/>
          </p:nvSpPr>
          <p:spPr>
            <a:xfrm>
              <a:off x="0" y="483545"/>
              <a:ext cx="1243468" cy="18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/>
              <a:r>
                <a:rPr lang="ru-RU" sz="1194" dirty="0"/>
                <a:t>Обувь</a:t>
              </a:r>
            </a:p>
          </p:txBody>
        </p:sp>
        <p:pic>
          <p:nvPicPr>
            <p:cNvPr id="114" name="Picture 10" descr="Picture 10">
              <a:extLst>
                <a:ext uri="{FF2B5EF4-FFF2-40B4-BE49-F238E27FC236}">
                  <a16:creationId xmlns:a16="http://schemas.microsoft.com/office/drawing/2014/main" xmlns="" id="{8A691C69-1ED0-DA47-912C-0B2B3F43F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416849" y="0"/>
              <a:ext cx="409769" cy="31664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15" name="TextBox 8">
            <a:extLst>
              <a:ext uri="{FF2B5EF4-FFF2-40B4-BE49-F238E27FC236}">
                <a16:creationId xmlns:a16="http://schemas.microsoft.com/office/drawing/2014/main" xmlns="" id="{AAD2D366-8174-BA4C-9AC1-69252063E953}"/>
              </a:ext>
            </a:extLst>
          </p:cNvPr>
          <p:cNvSpPr txBox="1"/>
          <p:nvPr/>
        </p:nvSpPr>
        <p:spPr>
          <a:xfrm>
            <a:off x="6941048" y="3259876"/>
            <a:ext cx="1237013" cy="3751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Духи и туалетная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вода</a:t>
            </a:r>
          </a:p>
        </p:txBody>
      </p:sp>
      <p:sp>
        <p:nvSpPr>
          <p:cNvPr id="116" name="TextBox 9">
            <a:extLst>
              <a:ext uri="{FF2B5EF4-FFF2-40B4-BE49-F238E27FC236}">
                <a16:creationId xmlns:a16="http://schemas.microsoft.com/office/drawing/2014/main" xmlns="" id="{018EB4DA-F55F-3B48-A2DE-89EEAAF68866}"/>
              </a:ext>
            </a:extLst>
          </p:cNvPr>
          <p:cNvSpPr txBox="1"/>
          <p:nvPr/>
        </p:nvSpPr>
        <p:spPr>
          <a:xfrm>
            <a:off x="3993871" y="3259876"/>
            <a:ext cx="1237013" cy="3751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Пальто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и полупальто</a:t>
            </a:r>
          </a:p>
        </p:txBody>
      </p:sp>
      <p:sp>
        <p:nvSpPr>
          <p:cNvPr id="117" name="TextBox 10">
            <a:extLst>
              <a:ext uri="{FF2B5EF4-FFF2-40B4-BE49-F238E27FC236}">
                <a16:creationId xmlns:a16="http://schemas.microsoft.com/office/drawing/2014/main" xmlns="" id="{2317C7FF-4AFD-7D4A-B5EC-E769555AF906}"/>
              </a:ext>
            </a:extLst>
          </p:cNvPr>
          <p:cNvSpPr txBox="1"/>
          <p:nvPr/>
        </p:nvSpPr>
        <p:spPr>
          <a:xfrm>
            <a:off x="5455877" y="3259876"/>
            <a:ext cx="1237013" cy="1875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94" dirty="0"/>
              <a:t>Плащи и куртки</a:t>
            </a:r>
          </a:p>
        </p:txBody>
      </p:sp>
      <p:sp>
        <p:nvSpPr>
          <p:cNvPr id="118" name="TextBox 11">
            <a:extLst>
              <a:ext uri="{FF2B5EF4-FFF2-40B4-BE49-F238E27FC236}">
                <a16:creationId xmlns:a16="http://schemas.microsoft.com/office/drawing/2014/main" xmlns="" id="{22845164-9768-D540-884B-7CA0209218E6}"/>
              </a:ext>
            </a:extLst>
          </p:cNvPr>
          <p:cNvSpPr txBox="1"/>
          <p:nvPr/>
        </p:nvSpPr>
        <p:spPr>
          <a:xfrm>
            <a:off x="8449380" y="3259876"/>
            <a:ext cx="1237013" cy="3751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Туалетное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</a:rPr>
              <a:t>и кухонное белье</a:t>
            </a:r>
          </a:p>
        </p:txBody>
      </p:sp>
      <p:pic>
        <p:nvPicPr>
          <p:cNvPr id="119" name="Picture 13" descr="Picture 13">
            <a:extLst>
              <a:ext uri="{FF2B5EF4-FFF2-40B4-BE49-F238E27FC236}">
                <a16:creationId xmlns:a16="http://schemas.microsoft.com/office/drawing/2014/main" xmlns="" id="{96852FE2-3391-F24D-A5B9-9DA14CE748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7341837" y="2723256"/>
            <a:ext cx="435435" cy="42617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0" name="Picture 21" descr="Picture 21">
            <a:extLst>
              <a:ext uri="{FF2B5EF4-FFF2-40B4-BE49-F238E27FC236}">
                <a16:creationId xmlns:a16="http://schemas.microsoft.com/office/drawing/2014/main" xmlns="" id="{936ECB5C-26D8-A14F-A144-283CD73801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4417817" y="2732520"/>
            <a:ext cx="389113" cy="40764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1" name="Picture 23" descr="Picture 23">
            <a:extLst>
              <a:ext uri="{FF2B5EF4-FFF2-40B4-BE49-F238E27FC236}">
                <a16:creationId xmlns:a16="http://schemas.microsoft.com/office/drawing/2014/main" xmlns="" id="{6D7D54F5-478D-7E44-8038-723EEB983F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8854799" y="2769577"/>
            <a:ext cx="426171" cy="333527"/>
          </a:xfrm>
          <a:prstGeom prst="rect">
            <a:avLst/>
          </a:prstGeom>
          <a:ln w="12700">
            <a:miter lim="400000"/>
          </a:ln>
        </p:spPr>
      </p:pic>
      <p:pic>
        <p:nvPicPr>
          <p:cNvPr id="122" name="Picture 25" descr="Picture 25">
            <a:extLst>
              <a:ext uri="{FF2B5EF4-FFF2-40B4-BE49-F238E27FC236}">
                <a16:creationId xmlns:a16="http://schemas.microsoft.com/office/drawing/2014/main" xmlns="" id="{46F0C410-2424-B340-B106-708E57F4D5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/>
          </a:blip>
          <a:stretch>
            <a:fillRect/>
          </a:stretch>
        </p:blipFill>
        <p:spPr>
          <a:xfrm>
            <a:off x="5884459" y="2723256"/>
            <a:ext cx="379849" cy="42617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23" name="Group 29">
            <a:extLst>
              <a:ext uri="{FF2B5EF4-FFF2-40B4-BE49-F238E27FC236}">
                <a16:creationId xmlns:a16="http://schemas.microsoft.com/office/drawing/2014/main" xmlns="" id="{60AEDBE5-F65E-7342-A9F0-5AE65812E861}"/>
              </a:ext>
            </a:extLst>
          </p:cNvPr>
          <p:cNvGrpSpPr/>
          <p:nvPr/>
        </p:nvGrpSpPr>
        <p:grpSpPr>
          <a:xfrm>
            <a:off x="4013417" y="4014024"/>
            <a:ext cx="5692524" cy="905208"/>
            <a:chOff x="0" y="0"/>
            <a:chExt cx="5722231" cy="909931"/>
          </a:xfrm>
        </p:grpSpPr>
        <p:sp>
          <p:nvSpPr>
            <p:cNvPr id="124" name="TextBox 17">
              <a:extLst>
                <a:ext uri="{FF2B5EF4-FFF2-40B4-BE49-F238E27FC236}">
                  <a16:creationId xmlns:a16="http://schemas.microsoft.com/office/drawing/2014/main" xmlns="" id="{BB7D58FD-53D1-234E-8F45-2219FB215012}"/>
                </a:ext>
              </a:extLst>
            </p:cNvPr>
            <p:cNvSpPr txBox="1"/>
            <p:nvPr/>
          </p:nvSpPr>
          <p:spPr>
            <a:xfrm>
              <a:off x="1469638" y="532794"/>
              <a:ext cx="1243468" cy="377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Трикотажные </a:t>
              </a:r>
            </a:p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блузки</a:t>
              </a:r>
            </a:p>
          </p:txBody>
        </p:sp>
        <p:sp>
          <p:nvSpPr>
            <p:cNvPr id="125" name="TextBox 19">
              <a:extLst>
                <a:ext uri="{FF2B5EF4-FFF2-40B4-BE49-F238E27FC236}">
                  <a16:creationId xmlns:a16="http://schemas.microsoft.com/office/drawing/2014/main" xmlns="" id="{7EF4A70B-7527-4E41-B1A0-85C5E8317D1B}"/>
                </a:ext>
              </a:extLst>
            </p:cNvPr>
            <p:cNvSpPr txBox="1"/>
            <p:nvPr/>
          </p:nvSpPr>
          <p:spPr>
            <a:xfrm>
              <a:off x="0" y="532794"/>
              <a:ext cx="1243468" cy="377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Ветровки и </a:t>
              </a:r>
            </a:p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штормовки</a:t>
              </a:r>
            </a:p>
          </p:txBody>
        </p:sp>
        <p:sp>
          <p:nvSpPr>
            <p:cNvPr id="126" name="TextBox 20">
              <a:extLst>
                <a:ext uri="{FF2B5EF4-FFF2-40B4-BE49-F238E27FC236}">
                  <a16:creationId xmlns:a16="http://schemas.microsoft.com/office/drawing/2014/main" xmlns="" id="{994D46F2-5222-9A49-BCD7-4080054AECC5}"/>
                </a:ext>
              </a:extLst>
            </p:cNvPr>
            <p:cNvSpPr txBox="1"/>
            <p:nvPr/>
          </p:nvSpPr>
          <p:spPr>
            <a:xfrm>
              <a:off x="4478763" y="532794"/>
              <a:ext cx="1243468" cy="18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/>
              <a:r>
                <a:rPr lang="ru-RU" sz="1194" dirty="0"/>
                <a:t>Постельное белье</a:t>
              </a:r>
            </a:p>
          </p:txBody>
        </p:sp>
        <p:sp>
          <p:nvSpPr>
            <p:cNvPr id="127" name="TextBox 22">
              <a:extLst>
                <a:ext uri="{FF2B5EF4-FFF2-40B4-BE49-F238E27FC236}">
                  <a16:creationId xmlns:a16="http://schemas.microsoft.com/office/drawing/2014/main" xmlns="" id="{7905A0DC-716D-B34E-A65C-7823427A7CE6}"/>
                </a:ext>
              </a:extLst>
            </p:cNvPr>
            <p:cNvSpPr txBox="1"/>
            <p:nvPr/>
          </p:nvSpPr>
          <p:spPr>
            <a:xfrm>
              <a:off x="2962559" y="532794"/>
              <a:ext cx="1243468" cy="18856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/>
              <a:r>
                <a:rPr lang="ru-RU" sz="1194" dirty="0"/>
                <a:t>Столовое белье</a:t>
              </a:r>
            </a:p>
          </p:txBody>
        </p:sp>
        <p:pic>
          <p:nvPicPr>
            <p:cNvPr id="128" name="Picture 15" descr="Picture 15">
              <a:extLst>
                <a:ext uri="{FF2B5EF4-FFF2-40B4-BE49-F238E27FC236}">
                  <a16:creationId xmlns:a16="http://schemas.microsoft.com/office/drawing/2014/main" xmlns="" id="{0B2F2C9E-AE87-BA48-9298-63537DF75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/>
            </a:blip>
            <a:stretch>
              <a:fillRect/>
            </a:stretch>
          </p:blipFill>
          <p:spPr>
            <a:xfrm>
              <a:off x="4881643" y="0"/>
              <a:ext cx="437708" cy="41908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9" name="Picture 17" descr="Picture 17">
              <a:extLst>
                <a:ext uri="{FF2B5EF4-FFF2-40B4-BE49-F238E27FC236}">
                  <a16:creationId xmlns:a16="http://schemas.microsoft.com/office/drawing/2014/main" xmlns="" id="{15D98377-2DDB-664F-B056-F94AA76471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/>
            </a:blip>
            <a:stretch>
              <a:fillRect/>
            </a:stretch>
          </p:blipFill>
          <p:spPr>
            <a:xfrm>
              <a:off x="1933051" y="4656"/>
              <a:ext cx="316641" cy="40977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0" name="Picture 19" descr="Picture 19">
              <a:extLst>
                <a:ext uri="{FF2B5EF4-FFF2-40B4-BE49-F238E27FC236}">
                  <a16:creationId xmlns:a16="http://schemas.microsoft.com/office/drawing/2014/main" xmlns="" id="{1569809F-B7AA-1441-B2D0-5DEE19472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/>
            </a:blip>
            <a:stretch>
              <a:fillRect/>
            </a:stretch>
          </p:blipFill>
          <p:spPr>
            <a:xfrm>
              <a:off x="3360783" y="13969"/>
              <a:ext cx="447021" cy="39114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1" name="Picture 29" descr="Picture 29">
              <a:extLst>
                <a:ext uri="{FF2B5EF4-FFF2-40B4-BE49-F238E27FC236}">
                  <a16:creationId xmlns:a16="http://schemas.microsoft.com/office/drawing/2014/main" xmlns="" id="{AEC15FEF-017F-CC41-A4A2-949A8E078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/>
            </a:blip>
            <a:stretch>
              <a:fillRect/>
            </a:stretch>
          </p:blipFill>
          <p:spPr>
            <a:xfrm>
              <a:off x="444787" y="4656"/>
              <a:ext cx="353892" cy="40977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32" name="Group 164863">
            <a:extLst>
              <a:ext uri="{FF2B5EF4-FFF2-40B4-BE49-F238E27FC236}">
                <a16:creationId xmlns:a16="http://schemas.microsoft.com/office/drawing/2014/main" xmlns="" id="{65D2AF00-CF9D-7948-BE95-490F4308E8CC}"/>
              </a:ext>
            </a:extLst>
          </p:cNvPr>
          <p:cNvGrpSpPr/>
          <p:nvPr/>
        </p:nvGrpSpPr>
        <p:grpSpPr>
          <a:xfrm>
            <a:off x="4432389" y="5034306"/>
            <a:ext cx="4769160" cy="928097"/>
            <a:chOff x="0" y="0"/>
            <a:chExt cx="4794047" cy="932937"/>
          </a:xfrm>
        </p:grpSpPr>
        <p:sp>
          <p:nvSpPr>
            <p:cNvPr id="133" name="TextBox 28">
              <a:extLst>
                <a:ext uri="{FF2B5EF4-FFF2-40B4-BE49-F238E27FC236}">
                  <a16:creationId xmlns:a16="http://schemas.microsoft.com/office/drawing/2014/main" xmlns="" id="{A0EEA840-2023-9144-9237-04F2ED63FEC7}"/>
                </a:ext>
              </a:extLst>
            </p:cNvPr>
            <p:cNvSpPr txBox="1"/>
            <p:nvPr/>
          </p:nvSpPr>
          <p:spPr>
            <a:xfrm>
              <a:off x="3258207" y="555801"/>
              <a:ext cx="1535840" cy="3771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Фотоаппараты </a:t>
              </a:r>
            </a:p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и лампы-вспышки</a:t>
              </a:r>
            </a:p>
          </p:txBody>
        </p:sp>
        <p:pic>
          <p:nvPicPr>
            <p:cNvPr id="134" name="Picture 27" descr="Picture 27">
              <a:extLst>
                <a:ext uri="{FF2B5EF4-FFF2-40B4-BE49-F238E27FC236}">
                  <a16:creationId xmlns:a16="http://schemas.microsoft.com/office/drawing/2014/main" xmlns="" id="{6FB13597-4F65-AB4A-8DCF-C481187CE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/>
            </a:blip>
            <a:stretch>
              <a:fillRect/>
            </a:stretch>
          </p:blipFill>
          <p:spPr>
            <a:xfrm>
              <a:off x="3821242" y="0"/>
              <a:ext cx="409770" cy="4097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35" name="TextBox 30">
              <a:extLst>
                <a:ext uri="{FF2B5EF4-FFF2-40B4-BE49-F238E27FC236}">
                  <a16:creationId xmlns:a16="http://schemas.microsoft.com/office/drawing/2014/main" xmlns="" id="{A3C150C5-1C45-294A-A8E6-E8CE862EF29D}"/>
                </a:ext>
              </a:extLst>
            </p:cNvPr>
            <p:cNvSpPr txBox="1"/>
            <p:nvPr/>
          </p:nvSpPr>
          <p:spPr>
            <a:xfrm>
              <a:off x="0" y="555801"/>
              <a:ext cx="2094538" cy="3771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Шины и </a:t>
              </a:r>
              <a:r>
                <a:rPr lang="ru-RU" sz="1194" dirty="0" err="1">
                  <a:solidFill>
                    <a:srgbClr val="58595B"/>
                  </a:solidFill>
                </a:rPr>
                <a:t>пневма</a:t>
              </a:r>
              <a:r>
                <a:rPr lang="ru-RU" sz="1194">
                  <a:solidFill>
                    <a:srgbClr val="58595B"/>
                  </a:solidFill>
                </a:rPr>
                <a:t>-</a:t>
              </a:r>
              <a:br>
                <a:rPr lang="ru-RU" sz="1194">
                  <a:solidFill>
                    <a:srgbClr val="58595B"/>
                  </a:solidFill>
                </a:rPr>
              </a:br>
              <a:r>
                <a:rPr lang="ru-RU" sz="1194">
                  <a:solidFill>
                    <a:srgbClr val="58595B"/>
                  </a:solidFill>
                </a:rPr>
                <a:t>тические покрышки</a:t>
              </a:r>
            </a:p>
          </p:txBody>
        </p:sp>
        <p:pic>
          <p:nvPicPr>
            <p:cNvPr id="136" name="Picture 31" descr="Picture 31">
              <a:extLst>
                <a:ext uri="{FF2B5EF4-FFF2-40B4-BE49-F238E27FC236}">
                  <a16:creationId xmlns:a16="http://schemas.microsoft.com/office/drawing/2014/main" xmlns="" id="{E62A152C-280C-DF40-9A03-385268927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/>
            </a:blip>
            <a:stretch>
              <a:fillRect/>
            </a:stretch>
          </p:blipFill>
          <p:spPr>
            <a:xfrm>
              <a:off x="861009" y="9313"/>
              <a:ext cx="372518" cy="39114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37" name="Oval 21">
            <a:extLst>
              <a:ext uri="{FF2B5EF4-FFF2-40B4-BE49-F238E27FC236}">
                <a16:creationId xmlns:a16="http://schemas.microsoft.com/office/drawing/2014/main" xmlns="" id="{B3606202-E9BE-EE45-BFF8-2522D8FA710A}"/>
              </a:ext>
            </a:extLst>
          </p:cNvPr>
          <p:cNvSpPr/>
          <p:nvPr/>
        </p:nvSpPr>
        <p:spPr>
          <a:xfrm>
            <a:off x="1659451" y="2404456"/>
            <a:ext cx="175964" cy="175964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>
              <a:defRPr sz="1100">
                <a:solidFill>
                  <a:srgbClr val="98A6CC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98A6CC"/>
              </a:solidFill>
              <a:latin typeface="Trebuchet MS"/>
              <a:sym typeface="Trebuchet MS"/>
            </a:endParaRPr>
          </a:p>
        </p:txBody>
      </p:sp>
      <p:sp>
        <p:nvSpPr>
          <p:cNvPr id="138" name="Oval 34">
            <a:extLst>
              <a:ext uri="{FF2B5EF4-FFF2-40B4-BE49-F238E27FC236}">
                <a16:creationId xmlns:a16="http://schemas.microsoft.com/office/drawing/2014/main" xmlns="" id="{4F5D5943-D53C-6A45-8CAA-AEBD8BFD178A}"/>
              </a:ext>
            </a:extLst>
          </p:cNvPr>
          <p:cNvSpPr/>
          <p:nvPr/>
        </p:nvSpPr>
        <p:spPr>
          <a:xfrm>
            <a:off x="3308588" y="2404456"/>
            <a:ext cx="175964" cy="175964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>
              <a:defRPr sz="1100">
                <a:solidFill>
                  <a:srgbClr val="98A6CC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98A6CC"/>
              </a:solidFill>
              <a:latin typeface="Trebuchet MS"/>
              <a:sym typeface="Trebuchet MS"/>
            </a:endParaRPr>
          </a:p>
        </p:txBody>
      </p:sp>
      <p:sp>
        <p:nvSpPr>
          <p:cNvPr id="139" name="Oval 35">
            <a:extLst>
              <a:ext uri="{FF2B5EF4-FFF2-40B4-BE49-F238E27FC236}">
                <a16:creationId xmlns:a16="http://schemas.microsoft.com/office/drawing/2014/main" xmlns="" id="{B85E12A0-30D7-A245-9853-255E83C4E8AE}"/>
              </a:ext>
            </a:extLst>
          </p:cNvPr>
          <p:cNvSpPr/>
          <p:nvPr/>
        </p:nvSpPr>
        <p:spPr>
          <a:xfrm>
            <a:off x="6771696" y="2404456"/>
            <a:ext cx="175964" cy="175964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>
              <a:defRPr sz="1100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FFFFFF"/>
              </a:solidFill>
              <a:latin typeface="Trebuchet MS"/>
              <a:sym typeface="Trebuchet MS"/>
            </a:endParaRPr>
          </a:p>
        </p:txBody>
      </p:sp>
      <p:sp>
        <p:nvSpPr>
          <p:cNvPr id="140" name="Rectangle 24">
            <a:extLst>
              <a:ext uri="{FF2B5EF4-FFF2-40B4-BE49-F238E27FC236}">
                <a16:creationId xmlns:a16="http://schemas.microsoft.com/office/drawing/2014/main" xmlns="" id="{91055692-6761-3646-9173-4D8177583514}"/>
              </a:ext>
            </a:extLst>
          </p:cNvPr>
          <p:cNvSpPr/>
          <p:nvPr/>
        </p:nvSpPr>
        <p:spPr>
          <a:xfrm>
            <a:off x="641556" y="2357722"/>
            <a:ext cx="647989" cy="34402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2190" dirty="0"/>
              <a:t>2019 </a:t>
            </a:r>
          </a:p>
        </p:txBody>
      </p:sp>
      <p:sp>
        <p:nvSpPr>
          <p:cNvPr id="141" name="Rectangle 43">
            <a:extLst>
              <a:ext uri="{FF2B5EF4-FFF2-40B4-BE49-F238E27FC236}">
                <a16:creationId xmlns:a16="http://schemas.microsoft.com/office/drawing/2014/main" xmlns="" id="{20D31C5E-22CC-6849-B3EB-ACB4FD836496}"/>
              </a:ext>
            </a:extLst>
          </p:cNvPr>
          <p:cNvSpPr txBox="1"/>
          <p:nvPr/>
        </p:nvSpPr>
        <p:spPr>
          <a:xfrm>
            <a:off x="1931146" y="1872005"/>
            <a:ext cx="656171" cy="344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2190"/>
              <a:t>Март</a:t>
            </a:r>
          </a:p>
        </p:txBody>
      </p:sp>
      <p:sp>
        <p:nvSpPr>
          <p:cNvPr id="142" name="Rectangle 44">
            <a:extLst>
              <a:ext uri="{FF2B5EF4-FFF2-40B4-BE49-F238E27FC236}">
                <a16:creationId xmlns:a16="http://schemas.microsoft.com/office/drawing/2014/main" xmlns="" id="{FAD897B2-FF7C-8948-9C19-F4629CAA6F93}"/>
              </a:ext>
            </a:extLst>
          </p:cNvPr>
          <p:cNvSpPr txBox="1"/>
          <p:nvPr/>
        </p:nvSpPr>
        <p:spPr>
          <a:xfrm>
            <a:off x="3580386" y="1884823"/>
            <a:ext cx="690533" cy="344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2190"/>
              <a:t>Июль</a:t>
            </a:r>
          </a:p>
        </p:txBody>
      </p:sp>
      <p:sp>
        <p:nvSpPr>
          <p:cNvPr id="143" name="Rectangle 45">
            <a:extLst>
              <a:ext uri="{FF2B5EF4-FFF2-40B4-BE49-F238E27FC236}">
                <a16:creationId xmlns:a16="http://schemas.microsoft.com/office/drawing/2014/main" xmlns="" id="{3000CD3A-BFF3-3642-8DF7-5531D37E26B7}"/>
              </a:ext>
            </a:extLst>
          </p:cNvPr>
          <p:cNvSpPr txBox="1"/>
          <p:nvPr/>
        </p:nvSpPr>
        <p:spPr>
          <a:xfrm>
            <a:off x="7024961" y="1906899"/>
            <a:ext cx="1063029" cy="344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2190" dirty="0"/>
              <a:t>Декабрь</a:t>
            </a:r>
          </a:p>
        </p:txBody>
      </p:sp>
      <p:sp>
        <p:nvSpPr>
          <p:cNvPr id="144" name="Straight Connector 17">
            <a:extLst>
              <a:ext uri="{FF2B5EF4-FFF2-40B4-BE49-F238E27FC236}">
                <a16:creationId xmlns:a16="http://schemas.microsoft.com/office/drawing/2014/main" xmlns="" id="{6C33CF5B-84C7-5643-B393-E5AC7B9DE56B}"/>
              </a:ext>
            </a:extLst>
          </p:cNvPr>
          <p:cNvSpPr/>
          <p:nvPr/>
        </p:nvSpPr>
        <p:spPr>
          <a:xfrm flipH="1">
            <a:off x="3908779" y="2723254"/>
            <a:ext cx="1" cy="3098180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145" name="Straight Connector 58">
            <a:extLst>
              <a:ext uri="{FF2B5EF4-FFF2-40B4-BE49-F238E27FC236}">
                <a16:creationId xmlns:a16="http://schemas.microsoft.com/office/drawing/2014/main" xmlns="" id="{96CFCB85-ADA5-3442-8745-747CB65DB4A9}"/>
              </a:ext>
            </a:extLst>
          </p:cNvPr>
          <p:cNvSpPr/>
          <p:nvPr/>
        </p:nvSpPr>
        <p:spPr>
          <a:xfrm flipH="1">
            <a:off x="2745353" y="2723256"/>
            <a:ext cx="1" cy="1044868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>
              <a:solidFill>
                <a:srgbClr val="212121">
                  <a:lumOff val="21764"/>
                </a:srgbClr>
              </a:solidFill>
            </a:endParaRPr>
          </a:p>
        </p:txBody>
      </p:sp>
      <p:grpSp>
        <p:nvGrpSpPr>
          <p:cNvPr id="146" name="Group 22">
            <a:extLst>
              <a:ext uri="{FF2B5EF4-FFF2-40B4-BE49-F238E27FC236}">
                <a16:creationId xmlns:a16="http://schemas.microsoft.com/office/drawing/2014/main" xmlns="" id="{B8A993BD-B988-6645-B51C-440BFCEAA8BA}"/>
              </a:ext>
            </a:extLst>
          </p:cNvPr>
          <p:cNvGrpSpPr/>
          <p:nvPr/>
        </p:nvGrpSpPr>
        <p:grpSpPr>
          <a:xfrm>
            <a:off x="1128928" y="2727886"/>
            <a:ext cx="2121929" cy="1597575"/>
            <a:chOff x="0" y="0"/>
            <a:chExt cx="2133002" cy="1605912"/>
          </a:xfrm>
        </p:grpSpPr>
        <p:grpSp>
          <p:nvGrpSpPr>
            <p:cNvPr id="147" name="Group 19">
              <a:extLst>
                <a:ext uri="{FF2B5EF4-FFF2-40B4-BE49-F238E27FC236}">
                  <a16:creationId xmlns:a16="http://schemas.microsoft.com/office/drawing/2014/main" xmlns="" id="{D54EEEE9-6D6A-714D-93D6-F2DBE4B4373E}"/>
                </a:ext>
              </a:extLst>
            </p:cNvPr>
            <p:cNvGrpSpPr/>
            <p:nvPr/>
          </p:nvGrpSpPr>
          <p:grpSpPr>
            <a:xfrm>
              <a:off x="0" y="0"/>
              <a:ext cx="1243469" cy="911905"/>
              <a:chOff x="0" y="0"/>
              <a:chExt cx="1243468" cy="911904"/>
            </a:xfrm>
          </p:grpSpPr>
          <p:sp>
            <p:nvSpPr>
              <p:cNvPr id="149" name="TextBox 56">
                <a:extLst>
                  <a:ext uri="{FF2B5EF4-FFF2-40B4-BE49-F238E27FC236}">
                    <a16:creationId xmlns:a16="http://schemas.microsoft.com/office/drawing/2014/main" xmlns="" id="{B9571041-0F90-524A-94B3-8979D0D201BF}"/>
                  </a:ext>
                </a:extLst>
              </p:cNvPr>
              <p:cNvSpPr txBox="1"/>
              <p:nvPr/>
            </p:nvSpPr>
            <p:spPr>
              <a:xfrm>
                <a:off x="0" y="534767"/>
                <a:ext cx="1243468" cy="37713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 algn="ctr">
                  <a:defRPr sz="1200">
                    <a:solidFill>
                      <a:srgbClr val="58595B"/>
                    </a:solidFill>
                  </a:defRPr>
                </a:lvl1pPr>
              </a:lstStyle>
              <a:p>
                <a:pPr defTabSz="1215253"/>
                <a:r>
                  <a:rPr lang="ru-RU" sz="1194"/>
                  <a:t>Табачная продукция</a:t>
                </a:r>
              </a:p>
            </p:txBody>
          </p:sp>
          <p:pic>
            <p:nvPicPr>
              <p:cNvPr id="150" name="Picture 8" descr="Picture 8">
                <a:extLst>
                  <a:ext uri="{FF2B5EF4-FFF2-40B4-BE49-F238E27FC236}">
                    <a16:creationId xmlns:a16="http://schemas.microsoft.com/office/drawing/2014/main" xmlns="" id="{D899D964-6FE0-FE48-B9B5-B0F82D0145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/>
              </a:blip>
              <a:stretch>
                <a:fillRect/>
              </a:stretch>
            </p:blipFill>
            <p:spPr>
              <a:xfrm>
                <a:off x="412193" y="0"/>
                <a:ext cx="419082" cy="41908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sp>
          <p:nvSpPr>
            <p:cNvPr id="148" name="TextBox 55">
              <a:extLst>
                <a:ext uri="{FF2B5EF4-FFF2-40B4-BE49-F238E27FC236}">
                  <a16:creationId xmlns:a16="http://schemas.microsoft.com/office/drawing/2014/main" xmlns="" id="{4A753DE9-0120-7748-BFDF-26F079BB5EF6}"/>
                </a:ext>
              </a:extLst>
            </p:cNvPr>
            <p:cNvSpPr txBox="1"/>
            <p:nvPr/>
          </p:nvSpPr>
          <p:spPr>
            <a:xfrm>
              <a:off x="1159428" y="1138499"/>
              <a:ext cx="973574" cy="46741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4470" tIns="44470" rIns="44470" bIns="44470" numCol="1" anchor="ctr">
              <a:spAutoFit/>
            </a:bodyPr>
            <a:lstStyle/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Эксперимент</a:t>
              </a:r>
            </a:p>
            <a:p>
              <a:pPr algn="ctr" defTabSz="1215253"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</a:rPr>
                <a:t>уже идет</a:t>
              </a:r>
            </a:p>
          </p:txBody>
        </p:sp>
      </p:grpSp>
      <p:sp>
        <p:nvSpPr>
          <p:cNvPr id="151" name="Straight Connector 63">
            <a:extLst>
              <a:ext uri="{FF2B5EF4-FFF2-40B4-BE49-F238E27FC236}">
                <a16:creationId xmlns:a16="http://schemas.microsoft.com/office/drawing/2014/main" xmlns="" id="{7A158290-443F-B643-A6A5-07469073202A}"/>
              </a:ext>
            </a:extLst>
          </p:cNvPr>
          <p:cNvSpPr/>
          <p:nvPr/>
        </p:nvSpPr>
        <p:spPr>
          <a:xfrm>
            <a:off x="9742877" y="2723254"/>
            <a:ext cx="1" cy="3098180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152" name="Oval 64">
            <a:extLst>
              <a:ext uri="{FF2B5EF4-FFF2-40B4-BE49-F238E27FC236}">
                <a16:creationId xmlns:a16="http://schemas.microsoft.com/office/drawing/2014/main" xmlns="" id="{2F3ED9E1-1870-6742-AD4F-75E65DA3F2BC}"/>
              </a:ext>
            </a:extLst>
          </p:cNvPr>
          <p:cNvSpPr/>
          <p:nvPr/>
        </p:nvSpPr>
        <p:spPr>
          <a:xfrm>
            <a:off x="10488238" y="2404456"/>
            <a:ext cx="175964" cy="175964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>
              <a:defRPr sz="1100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FFFFFF"/>
              </a:solidFill>
              <a:latin typeface="Trebuchet MS"/>
              <a:sym typeface="Trebuchet MS"/>
            </a:endParaRPr>
          </a:p>
        </p:txBody>
      </p:sp>
      <p:sp>
        <p:nvSpPr>
          <p:cNvPr id="153" name="Freeform 67">
            <a:extLst>
              <a:ext uri="{FF2B5EF4-FFF2-40B4-BE49-F238E27FC236}">
                <a16:creationId xmlns:a16="http://schemas.microsoft.com/office/drawing/2014/main" xmlns="" id="{28B6D294-F46F-C546-9792-F3ED9A08AC8E}"/>
              </a:ext>
            </a:extLst>
          </p:cNvPr>
          <p:cNvSpPr/>
          <p:nvPr/>
        </p:nvSpPr>
        <p:spPr>
          <a:xfrm>
            <a:off x="10496014" y="2749989"/>
            <a:ext cx="160840" cy="3916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>
              <a:defRPr sz="2200"/>
            </a:pPr>
            <a:endParaRPr lang="ru-RU" sz="219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154" name="TextBox 63">
            <a:extLst>
              <a:ext uri="{FF2B5EF4-FFF2-40B4-BE49-F238E27FC236}">
                <a16:creationId xmlns:a16="http://schemas.microsoft.com/office/drawing/2014/main" xmlns="" id="{3004B70F-65FB-564C-B232-43BC9A0AEA54}"/>
              </a:ext>
            </a:extLst>
          </p:cNvPr>
          <p:cNvSpPr txBox="1"/>
          <p:nvPr/>
        </p:nvSpPr>
        <p:spPr>
          <a:xfrm>
            <a:off x="9957712" y="3259876"/>
            <a:ext cx="1237013" cy="5627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94">
                <a:solidFill>
                  <a:srgbClr val="58595B"/>
                </a:solidFill>
              </a:rPr>
              <a:t>Все лекарственные средства</a:t>
            </a:r>
            <a:r>
              <a:rPr lang="ru-RU" sz="1194" baseline="29833">
                <a:solidFill>
                  <a:srgbClr val="58595B"/>
                </a:solidFill>
              </a:rPr>
              <a:t>1</a:t>
            </a:r>
            <a:r>
              <a:rPr lang="ru-RU" sz="1194">
                <a:solidFill>
                  <a:srgbClr val="58595B"/>
                </a:solidFill>
              </a:rPr>
              <a:t> </a:t>
            </a:r>
          </a:p>
        </p:txBody>
      </p:sp>
      <p:sp>
        <p:nvSpPr>
          <p:cNvPr id="155" name="Rectangle 69">
            <a:extLst>
              <a:ext uri="{FF2B5EF4-FFF2-40B4-BE49-F238E27FC236}">
                <a16:creationId xmlns:a16="http://schemas.microsoft.com/office/drawing/2014/main" xmlns="" id="{BDFD6ECD-8B26-0847-B748-EC343A478C7E}"/>
              </a:ext>
            </a:extLst>
          </p:cNvPr>
          <p:cNvSpPr/>
          <p:nvPr/>
        </p:nvSpPr>
        <p:spPr>
          <a:xfrm>
            <a:off x="10225331" y="2330389"/>
            <a:ext cx="647989" cy="34402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2190"/>
              <a:t>2020 </a:t>
            </a:r>
          </a:p>
        </p:txBody>
      </p:sp>
      <p:sp>
        <p:nvSpPr>
          <p:cNvPr id="156" name="ee4pFootnotes">
            <a:extLst>
              <a:ext uri="{FF2B5EF4-FFF2-40B4-BE49-F238E27FC236}">
                <a16:creationId xmlns:a16="http://schemas.microsoft.com/office/drawing/2014/main" xmlns="" id="{1D4815FE-B13A-C44E-B4A6-E447729AF4ED}"/>
              </a:ext>
            </a:extLst>
          </p:cNvPr>
          <p:cNvSpPr txBox="1"/>
          <p:nvPr/>
        </p:nvSpPr>
        <p:spPr>
          <a:xfrm>
            <a:off x="9742876" y="6071797"/>
            <a:ext cx="2324095" cy="379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215253">
              <a:lnSpc>
                <a:spcPct val="90000"/>
              </a:lnSpc>
              <a:defRPr sz="900">
                <a:solidFill>
                  <a:srgbClr val="58595B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r>
              <a:rPr lang="ru-RU" sz="894" dirty="0">
                <a:solidFill>
                  <a:srgbClr val="58595B"/>
                </a:solidFill>
                <a:latin typeface="Trebuchet MS"/>
                <a:sym typeface="Trebuchet MS"/>
              </a:rPr>
              <a:t>1. Для части лекарственных средств (7 ВЗН и ЖНВЛП) обязательная маркировка вводится раньше</a:t>
            </a:r>
          </a:p>
        </p:txBody>
      </p:sp>
      <p:sp>
        <p:nvSpPr>
          <p:cNvPr id="157" name="Title 3">
            <a:extLst>
              <a:ext uri="{FF2B5EF4-FFF2-40B4-BE49-F238E27FC236}">
                <a16:creationId xmlns:a16="http://schemas.microsoft.com/office/drawing/2014/main" xmlns="" id="{7A2FE3B1-8948-6946-93BC-8C0F917BFF37}"/>
              </a:ext>
            </a:extLst>
          </p:cNvPr>
          <p:cNvSpPr txBox="1"/>
          <p:nvPr/>
        </p:nvSpPr>
        <p:spPr>
          <a:xfrm>
            <a:off x="314614" y="6156223"/>
            <a:ext cx="5692523" cy="140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/>
          <a:p>
            <a:pPr defTabSz="909694">
              <a:defRPr sz="1200">
                <a:solidFill>
                  <a:srgbClr val="58595B"/>
                </a:solidFill>
              </a:defRPr>
            </a:pPr>
            <a:r>
              <a:rPr lang="ru-RU" sz="894" dirty="0">
                <a:solidFill>
                  <a:srgbClr val="58595B"/>
                </a:solidFill>
              </a:rPr>
              <a:t>*Согласно Распоряжению Правительства РФ от 28.04.2018 № 792-р</a:t>
            </a:r>
          </a:p>
        </p:txBody>
      </p:sp>
    </p:spTree>
    <p:extLst>
      <p:ext uri="{BB962C8B-B14F-4D97-AF65-F5344CB8AC3E}">
        <p14:creationId xmlns:p14="http://schemas.microsoft.com/office/powerpoint/2010/main" val="4187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098C2D89-8660-4AB9-A3BB-F33FBEDD8C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28" name="Объект 27" hidden="1">
                        <a:extLst>
                          <a:ext uri="{FF2B5EF4-FFF2-40B4-BE49-F238E27FC236}">
                            <a16:creationId xmlns:a16="http://schemas.microsoft.com/office/drawing/2014/main" xmlns="" id="{098C2D89-8660-4AB9-A3BB-F33FBEDD8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 hidden="1">
            <a:extLst>
              <a:ext uri="{FF2B5EF4-FFF2-40B4-BE49-F238E27FC236}">
                <a16:creationId xmlns:a16="http://schemas.microsoft.com/office/drawing/2014/main" xmlns="" id="{79A4A921-2200-4D2A-A7CB-8D47C28500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790D65EA-333C-4C6B-A227-8B6F244829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0579" y="2222837"/>
          <a:ext cx="11750841" cy="440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833">
                  <a:extLst>
                    <a:ext uri="{9D8B030D-6E8A-4147-A177-3AD203B41FA5}">
                      <a16:colId xmlns:a16="http://schemas.microsoft.com/office/drawing/2014/main" xmlns="" val="705201672"/>
                    </a:ext>
                  </a:extLst>
                </a:gridCol>
                <a:gridCol w="2703236">
                  <a:extLst>
                    <a:ext uri="{9D8B030D-6E8A-4147-A177-3AD203B41FA5}">
                      <a16:colId xmlns:a16="http://schemas.microsoft.com/office/drawing/2014/main" xmlns="" val="1718564006"/>
                    </a:ext>
                  </a:extLst>
                </a:gridCol>
                <a:gridCol w="2700924">
                  <a:extLst>
                    <a:ext uri="{9D8B030D-6E8A-4147-A177-3AD203B41FA5}">
                      <a16:colId xmlns:a16="http://schemas.microsoft.com/office/drawing/2014/main" xmlns="" val="3065770807"/>
                    </a:ext>
                  </a:extLst>
                </a:gridCol>
                <a:gridCol w="2700924">
                  <a:extLst>
                    <a:ext uri="{9D8B030D-6E8A-4147-A177-3AD203B41FA5}">
                      <a16:colId xmlns:a16="http://schemas.microsoft.com/office/drawing/2014/main" xmlns="" val="1917497754"/>
                    </a:ext>
                  </a:extLst>
                </a:gridCol>
                <a:gridCol w="2700924">
                  <a:extLst>
                    <a:ext uri="{9D8B030D-6E8A-4147-A177-3AD203B41FA5}">
                      <a16:colId xmlns:a16="http://schemas.microsoft.com/office/drawing/2014/main" xmlns="" val="63810296"/>
                    </a:ext>
                  </a:extLst>
                </a:gridCol>
              </a:tblGrid>
              <a:tr h="199982">
                <a:tc>
                  <a:txBody>
                    <a:bodyPr/>
                    <a:lstStyle/>
                    <a:p>
                      <a:pPr marL="0" lvl="3" eaLnBrk="1"/>
                      <a:endParaRPr lang="ru-RU" sz="1200" b="1" dirty="0">
                        <a:solidFill>
                          <a:srgbClr val="595959">
                            <a:lumMod val="100000"/>
                          </a:srgbClr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Лекарственны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препараты</a:t>
                      </a:r>
                      <a:endParaRPr lang="ru-RU" sz="1400" b="1" dirty="0">
                        <a:solidFill>
                          <a:srgbClr val="595959">
                            <a:lumMod val="100000"/>
                          </a:srgbClr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3"/>
                      <a:r>
                        <a:rPr lang="ru-RU" sz="14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Табачные изделия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3"/>
                      <a:r>
                        <a:rPr lang="ru-RU" sz="14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Продукция легкой</a:t>
                      </a:r>
                    </a:p>
                    <a:p>
                      <a:pPr marL="0" lvl="3"/>
                      <a:r>
                        <a:rPr lang="ru-RU" sz="1400" b="1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промышленности</a:t>
                      </a:r>
                      <a:endParaRPr lang="ru-RU" sz="1400" b="1" dirty="0">
                        <a:solidFill>
                          <a:srgbClr val="595959">
                            <a:lumMod val="100000"/>
                          </a:srgbClr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lvl="3"/>
                      <a:r>
                        <a:rPr lang="ru-RU" sz="14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Молочная продукция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658628306"/>
                  </a:ext>
                </a:extLst>
              </a:tr>
              <a:tr h="876392">
                <a:tc>
                  <a:txBody>
                    <a:bodyPr/>
                    <a:lstStyle/>
                    <a:p>
                      <a:pPr lvl="1" eaLnBrk="1">
                        <a:buClr>
                          <a:srgbClr val="595959">
                            <a:lumMod val="100000"/>
                          </a:srgbClr>
                        </a:buClr>
                      </a:pPr>
                      <a:endParaRPr lang="ru-RU" sz="1200" dirty="0">
                        <a:solidFill>
                          <a:srgbClr val="595959">
                            <a:lumMod val="100000"/>
                          </a:srgbClr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lvl="0">
                        <a:buClr>
                          <a:srgbClr val="595959">
                            <a:lumMod val="100000"/>
                          </a:srgbClr>
                        </a:buClr>
                      </a:pPr>
                      <a:r>
                        <a:rPr lang="ru-RU" sz="11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Эксперимент, начатый ФНС, продлен</a:t>
                      </a: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 до конца 2019</a:t>
                      </a:r>
                      <a:r>
                        <a:rPr lang="en-US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 pitchFamily="34" charset="-52"/>
                          <a:cs typeface="+mn-cs"/>
                        </a:rPr>
                        <a:t>;</a:t>
                      </a:r>
                      <a:endParaRPr lang="ru-RU" sz="1100" dirty="0">
                        <a:solidFill>
                          <a:srgbClr val="595959">
                            <a:lumMod val="100000"/>
                          </a:srgbClr>
                        </a:solidFill>
                        <a:latin typeface="PT Sans Caption" panose="020B0603020203020204"/>
                        <a:cs typeface="+mn-cs"/>
                      </a:endParaRPr>
                    </a:p>
                    <a:p>
                      <a:pPr lvl="0">
                        <a:buClr>
                          <a:srgbClr val="595959">
                            <a:lumMod val="100000"/>
                          </a:srgbClr>
                        </a:buClr>
                      </a:pPr>
                      <a:r>
                        <a:rPr lang="ru-RU" sz="11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Правительство назначило ЦРПТ </a:t>
                      </a:r>
                    </a:p>
                    <a:p>
                      <a:pPr lvl="0">
                        <a:buClr>
                          <a:srgbClr val="595959">
                            <a:lumMod val="100000"/>
                          </a:srgbClr>
                        </a:buClr>
                      </a:pPr>
                      <a:r>
                        <a:rPr lang="ru-RU" sz="11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оператором ИС </a:t>
                      </a:r>
                      <a:r>
                        <a:rPr lang="ru-RU" sz="1100" b="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в рамках эксперимента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В рамках ГЧП ЦРПТ инвестирует более 10 млрд руб. в создание инфраструктуры системы и оснастит все производства и мед. организации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Производство локализовано (СП с участием РФПИ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100" b="1" dirty="0">
                          <a:latin typeface="PT Sans Caption" panose="020B0603020203020204"/>
                          <a:cs typeface="+mn-cs"/>
                        </a:rPr>
                        <a:t>Успешно завершен первый этап эксперимента</a:t>
                      </a:r>
                      <a:r>
                        <a:rPr lang="ru-RU" sz="1100" dirty="0">
                          <a:latin typeface="PT Sans Caption" panose="020B0603020203020204"/>
                          <a:cs typeface="+mn-cs"/>
                        </a:rPr>
                        <a:t> (запущен 15 января 2018 г.):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Его участники представляют 95% рынка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Произведено более 130 млн. промаркированных пачек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Маркированные изделия продаются с использованием ККТ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99000" lvl="1" indent="0">
                        <a:buClr>
                          <a:srgbClr val="595959">
                            <a:lumMod val="100000"/>
                          </a:srgbClr>
                        </a:buClr>
                        <a:buNone/>
                      </a:pPr>
                      <a:r>
                        <a:rPr lang="ru-RU" sz="1100" b="1" dirty="0">
                          <a:latin typeface="PT Sans Caption" panose="020B0603020203020204"/>
                          <a:cs typeface="+mn-cs"/>
                        </a:rPr>
                        <a:t>Эксперимент по обуви запущен и расширяется,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Выпущен первый код и маркированная продукция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Развернута информационная система</a:t>
                      </a:r>
                    </a:p>
                    <a:p>
                      <a:pPr marL="324000" lvl="1" indent="-216000" algn="l" defTabSz="914400" rtl="0" eaLnBrk="1" latinLnBrk="0" hangingPunct="1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kern="12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ea typeface="+mn-ea"/>
                          <a:cs typeface="+mn-cs"/>
                        </a:rPr>
                        <a:t>Разработаны и переданы на согласование в ФОИВ необходимые нормативные документы</a:t>
                      </a:r>
                      <a:endParaRPr lang="ru-RU" sz="1100" dirty="0"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latin typeface="PT Sans Caption" panose="020B0603020203020204"/>
                        </a:rPr>
                        <a:t>На базе МПТ создана проектно-экспертная группа</a:t>
                      </a:r>
                      <a:r>
                        <a:rPr lang="ru-RU" sz="1100" dirty="0">
                          <a:latin typeface="PT Sans Caption" panose="020B0603020203020204"/>
                        </a:rPr>
                        <a:t>, проведено первое заседание.</a:t>
                      </a:r>
                    </a:p>
                    <a:p>
                      <a:r>
                        <a:rPr lang="ru-RU" sz="1100" dirty="0">
                          <a:latin typeface="PT Sans Caption" panose="020B0603020203020204"/>
                        </a:rPr>
                        <a:t>прорабатываются:</a:t>
                      </a:r>
                    </a:p>
                    <a:p>
                      <a:pPr marL="324000" lvl="1" indent="-216000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Технологии нанесения кода</a:t>
                      </a:r>
                    </a:p>
                    <a:p>
                      <a:pPr marL="324000" lvl="1" indent="-216000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Оценка объема интеграции </a:t>
                      </a:r>
                    </a:p>
                    <a:p>
                      <a:pPr marL="324000" lvl="1" indent="-216000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Формирование рабочей группы поставщиков ИТ решений</a:t>
                      </a:r>
                    </a:p>
                    <a:p>
                      <a:pPr marL="324000" lvl="1" indent="-216000">
                        <a:buClr>
                          <a:srgbClr val="595959">
                            <a:lumMod val="100000"/>
                          </a:srgbClr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Методические рекомендации для проведения эксперимента</a:t>
                      </a:r>
                      <a:endParaRPr lang="ru-RU" sz="1100" dirty="0">
                        <a:latin typeface="PT Sans Caption" panose="020B0603020203020204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931572137"/>
                  </a:ext>
                </a:extLst>
              </a:tr>
              <a:tr h="488191">
                <a:tc>
                  <a:txBody>
                    <a:bodyPr/>
                    <a:lstStyle/>
                    <a:p>
                      <a:pPr eaLnBrk="1"/>
                      <a:endParaRPr lang="ru-RU" sz="1200" dirty="0"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Готовится:</a:t>
                      </a: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 завершение эксперимента и запуск обязательной маркировки</a:t>
                      </a:r>
                      <a:endParaRPr lang="ru-RU" sz="1100" dirty="0"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Готовится:</a:t>
                      </a: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  <a:cs typeface="+mn-cs"/>
                        </a:rPr>
                        <a:t> завершение эксперимента и запуск обязательной маркировки</a:t>
                      </a:r>
                      <a:endParaRPr lang="ru-RU" sz="1100" dirty="0">
                        <a:latin typeface="PT Sans Caption" panose="020B0603020203020204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PT Sans Caption" panose="020B0603020203020204"/>
                          <a:cs typeface="+mn-cs"/>
                        </a:rPr>
                        <a:t>Готовится</a:t>
                      </a:r>
                      <a:r>
                        <a:rPr lang="en-US" sz="1100" b="1" dirty="0">
                          <a:cs typeface="+mn-cs"/>
                        </a:rPr>
                        <a:t>: </a:t>
                      </a:r>
                      <a:r>
                        <a:rPr lang="ru-RU" sz="1100" dirty="0">
                          <a:latin typeface="PT Sans Caption" panose="020B0603020203020204"/>
                          <a:cs typeface="+mn-cs"/>
                        </a:rPr>
                        <a:t>расширение на весь легпром, работы по маркировке остатков продукции</a:t>
                      </a:r>
                      <a:endParaRPr lang="ru-RU" sz="1100" dirty="0"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PT Sans Caption" panose="020B0603020203020204"/>
                        </a:rPr>
                        <a:t>Готовится:</a:t>
                      </a:r>
                      <a:r>
                        <a:rPr lang="ru-RU" sz="1100" dirty="0">
                          <a:latin typeface="PT Sans Caption" panose="020B0603020203020204"/>
                        </a:rPr>
                        <a:t> </a:t>
                      </a:r>
                      <a:r>
                        <a:rPr lang="ru-RU" sz="1100" b="1" u="none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Проект Постановления Правительства РФ о проведении эксперимента</a:t>
                      </a:r>
                      <a:r>
                        <a:rPr lang="ru-RU" sz="1100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PT Sans Caption" panose="020B0603020203020204"/>
                        </a:rPr>
                        <a:t>, </a:t>
                      </a:r>
                      <a:r>
                        <a:rPr lang="ru-RU" sz="1100" dirty="0">
                          <a:latin typeface="PT Sans Caption" panose="020B0603020203020204"/>
                        </a:rPr>
                        <a:t>стенд моделирования, дорожная карта процесса, процесс интеграции ГИС Меркурий с системой маркировки и Национальным каталогом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862314589"/>
                  </a:ext>
                </a:extLst>
              </a:tr>
              <a:tr h="1999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Запуск с: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04.2019 (12 ВЗН)</a:t>
                      </a:r>
                      <a:endParaRPr lang="ru-RU" sz="1400" b="1" dirty="0">
                        <a:latin typeface="PT Sans Caption" panose="020B0603020203020204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01.2020</a:t>
                      </a:r>
                      <a:r>
                        <a:rPr lang="en-US" sz="1400" b="1" dirty="0">
                          <a:solidFill>
                            <a:srgbClr val="595959"/>
                          </a:solidFill>
                        </a:rPr>
                        <a:t> (</a:t>
                      </a:r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все ЛП)</a:t>
                      </a:r>
                      <a:endParaRPr lang="ru-RU" sz="1400" b="1" dirty="0"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03.2019</a:t>
                      </a:r>
                      <a:endParaRPr lang="ru-RU" sz="1400" b="1" dirty="0">
                        <a:solidFill>
                          <a:srgbClr val="595959"/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07.2019</a:t>
                      </a:r>
                    </a:p>
                    <a:p>
                      <a:pPr algn="ctr"/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(</a:t>
                      </a:r>
                      <a:r>
                        <a:rPr lang="ru-RU" sz="1400" b="1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обувь)</a:t>
                      </a:r>
                      <a:endParaRPr lang="ru-RU" sz="1400" b="1" dirty="0">
                        <a:solidFill>
                          <a:srgbClr val="595959"/>
                        </a:solidFill>
                        <a:latin typeface="PT Sans Caption" panose="020B0603020203020204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595959"/>
                          </a:solidFill>
                          <a:latin typeface="PT Sans Caption" panose="020B0603020203020204"/>
                        </a:rPr>
                        <a:t>2020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pattFill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662589530"/>
                  </a:ext>
                </a:extLst>
              </a:tr>
            </a:tbl>
          </a:graphicData>
        </a:graphic>
      </p:graphicFrame>
      <p:grpSp>
        <p:nvGrpSpPr>
          <p:cNvPr id="6" name="Group 27">
            <a:extLst>
              <a:ext uri="{FF2B5EF4-FFF2-40B4-BE49-F238E27FC236}">
                <a16:creationId xmlns:a16="http://schemas.microsoft.com/office/drawing/2014/main" xmlns="" id="{5031FD04-9F84-41E8-ABB7-370C06F81413}"/>
              </a:ext>
            </a:extLst>
          </p:cNvPr>
          <p:cNvGrpSpPr/>
          <p:nvPr/>
        </p:nvGrpSpPr>
        <p:grpSpPr>
          <a:xfrm>
            <a:off x="4623011" y="1228311"/>
            <a:ext cx="1045498" cy="1045498"/>
            <a:chOff x="2843213" y="2233325"/>
            <a:chExt cx="3225078" cy="3225078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xmlns="" id="{DC07FA4E-4CEE-423E-983E-6D9AA7011E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43213" y="2233325"/>
              <a:ext cx="3225078" cy="32250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Freeform 29">
              <a:extLst>
                <a:ext uri="{FF2B5EF4-FFF2-40B4-BE49-F238E27FC236}">
                  <a16:creationId xmlns:a16="http://schemas.microsoft.com/office/drawing/2014/main" xmlns="" id="{CDBEF417-C0EB-4113-91C5-598F435A6A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67114" y="3211626"/>
              <a:ext cx="1173134" cy="1670575"/>
            </a:xfrm>
            <a:custGeom>
              <a:avLst/>
              <a:gdLst>
                <a:gd name="T0" fmla="*/ 512 w 839"/>
                <a:gd name="T1" fmla="*/ 0 h 1195"/>
                <a:gd name="T2" fmla="*/ 542 w 839"/>
                <a:gd name="T3" fmla="*/ 221 h 1195"/>
                <a:gd name="T4" fmla="*/ 625 w 839"/>
                <a:gd name="T5" fmla="*/ 221 h 1195"/>
                <a:gd name="T6" fmla="*/ 595 w 839"/>
                <a:gd name="T7" fmla="*/ 0 h 1195"/>
                <a:gd name="T8" fmla="*/ 625 w 839"/>
                <a:gd name="T9" fmla="*/ 221 h 1195"/>
                <a:gd name="T10" fmla="*/ 773 w 839"/>
                <a:gd name="T11" fmla="*/ 0 h 1195"/>
                <a:gd name="T12" fmla="*/ 743 w 839"/>
                <a:gd name="T13" fmla="*/ 221 h 1195"/>
                <a:gd name="T14" fmla="*/ 476 w 839"/>
                <a:gd name="T15" fmla="*/ 221 h 1195"/>
                <a:gd name="T16" fmla="*/ 446 w 839"/>
                <a:gd name="T17" fmla="*/ 0 h 1195"/>
                <a:gd name="T18" fmla="*/ 476 w 839"/>
                <a:gd name="T19" fmla="*/ 221 h 1195"/>
                <a:gd name="T20" fmla="*/ 690 w 839"/>
                <a:gd name="T21" fmla="*/ 0 h 1195"/>
                <a:gd name="T22" fmla="*/ 660 w 839"/>
                <a:gd name="T23" fmla="*/ 221 h 1195"/>
                <a:gd name="T24" fmla="*/ 818 w 839"/>
                <a:gd name="T25" fmla="*/ 77 h 1195"/>
                <a:gd name="T26" fmla="*/ 839 w 839"/>
                <a:gd name="T27" fmla="*/ 0 h 1195"/>
                <a:gd name="T28" fmla="*/ 809 w 839"/>
                <a:gd name="T29" fmla="*/ 119 h 1195"/>
                <a:gd name="T30" fmla="*/ 179 w 839"/>
                <a:gd name="T31" fmla="*/ 221 h 1195"/>
                <a:gd name="T32" fmla="*/ 149 w 839"/>
                <a:gd name="T33" fmla="*/ 0 h 1195"/>
                <a:gd name="T34" fmla="*/ 179 w 839"/>
                <a:gd name="T35" fmla="*/ 221 h 1195"/>
                <a:gd name="T36" fmla="*/ 95 w 839"/>
                <a:gd name="T37" fmla="*/ 0 h 1195"/>
                <a:gd name="T38" fmla="*/ 65 w 839"/>
                <a:gd name="T39" fmla="*/ 221 h 1195"/>
                <a:gd name="T40" fmla="*/ 20 w 839"/>
                <a:gd name="T41" fmla="*/ 77 h 1195"/>
                <a:gd name="T42" fmla="*/ 30 w 839"/>
                <a:gd name="T43" fmla="*/ 0 h 1195"/>
                <a:gd name="T44" fmla="*/ 0 w 839"/>
                <a:gd name="T45" fmla="*/ 48 h 1195"/>
                <a:gd name="T46" fmla="*/ 393 w 839"/>
                <a:gd name="T47" fmla="*/ 221 h 1195"/>
                <a:gd name="T48" fmla="*/ 363 w 839"/>
                <a:gd name="T49" fmla="*/ 0 h 1195"/>
                <a:gd name="T50" fmla="*/ 393 w 839"/>
                <a:gd name="T51" fmla="*/ 221 h 1195"/>
                <a:gd name="T52" fmla="*/ 244 w 839"/>
                <a:gd name="T53" fmla="*/ 0 h 1195"/>
                <a:gd name="T54" fmla="*/ 214 w 839"/>
                <a:gd name="T55" fmla="*/ 221 h 1195"/>
                <a:gd name="T56" fmla="*/ 327 w 839"/>
                <a:gd name="T57" fmla="*/ 221 h 1195"/>
                <a:gd name="T58" fmla="*/ 297 w 839"/>
                <a:gd name="T59" fmla="*/ 0 h 1195"/>
                <a:gd name="T60" fmla="*/ 327 w 839"/>
                <a:gd name="T61" fmla="*/ 221 h 1195"/>
                <a:gd name="T62" fmla="*/ 15 w 839"/>
                <a:gd name="T63" fmla="*/ 346 h 1195"/>
                <a:gd name="T64" fmla="*/ 824 w 839"/>
                <a:gd name="T65" fmla="*/ 1195 h 1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39" h="1195">
                  <a:moveTo>
                    <a:pt x="512" y="221"/>
                  </a:moveTo>
                  <a:cubicBezTo>
                    <a:pt x="512" y="0"/>
                    <a:pt x="512" y="0"/>
                    <a:pt x="512" y="0"/>
                  </a:cubicBezTo>
                  <a:cubicBezTo>
                    <a:pt x="542" y="0"/>
                    <a:pt x="542" y="0"/>
                    <a:pt x="542" y="0"/>
                  </a:cubicBezTo>
                  <a:cubicBezTo>
                    <a:pt x="542" y="221"/>
                    <a:pt x="542" y="221"/>
                    <a:pt x="542" y="221"/>
                  </a:cubicBezTo>
                  <a:cubicBezTo>
                    <a:pt x="531" y="221"/>
                    <a:pt x="521" y="221"/>
                    <a:pt x="512" y="221"/>
                  </a:cubicBezTo>
                  <a:close/>
                  <a:moveTo>
                    <a:pt x="625" y="221"/>
                  </a:moveTo>
                  <a:cubicBezTo>
                    <a:pt x="625" y="0"/>
                    <a:pt x="625" y="0"/>
                    <a:pt x="62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595" y="221"/>
                    <a:pt x="595" y="221"/>
                    <a:pt x="595" y="221"/>
                  </a:cubicBezTo>
                  <a:cubicBezTo>
                    <a:pt x="605" y="221"/>
                    <a:pt x="615" y="221"/>
                    <a:pt x="625" y="221"/>
                  </a:cubicBezTo>
                  <a:close/>
                  <a:moveTo>
                    <a:pt x="773" y="221"/>
                  </a:moveTo>
                  <a:cubicBezTo>
                    <a:pt x="773" y="0"/>
                    <a:pt x="773" y="0"/>
                    <a:pt x="773" y="0"/>
                  </a:cubicBezTo>
                  <a:cubicBezTo>
                    <a:pt x="743" y="0"/>
                    <a:pt x="743" y="0"/>
                    <a:pt x="743" y="0"/>
                  </a:cubicBezTo>
                  <a:cubicBezTo>
                    <a:pt x="743" y="221"/>
                    <a:pt x="743" y="221"/>
                    <a:pt x="743" y="221"/>
                  </a:cubicBezTo>
                  <a:cubicBezTo>
                    <a:pt x="756" y="221"/>
                    <a:pt x="766" y="221"/>
                    <a:pt x="773" y="221"/>
                  </a:cubicBezTo>
                  <a:close/>
                  <a:moveTo>
                    <a:pt x="476" y="22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221"/>
                    <a:pt x="446" y="221"/>
                    <a:pt x="446" y="221"/>
                  </a:cubicBezTo>
                  <a:cubicBezTo>
                    <a:pt x="454" y="221"/>
                    <a:pt x="465" y="221"/>
                    <a:pt x="476" y="221"/>
                  </a:cubicBezTo>
                  <a:close/>
                  <a:moveTo>
                    <a:pt x="690" y="221"/>
                  </a:moveTo>
                  <a:cubicBezTo>
                    <a:pt x="690" y="0"/>
                    <a:pt x="690" y="0"/>
                    <a:pt x="690" y="0"/>
                  </a:cubicBezTo>
                  <a:cubicBezTo>
                    <a:pt x="660" y="0"/>
                    <a:pt x="660" y="0"/>
                    <a:pt x="660" y="0"/>
                  </a:cubicBezTo>
                  <a:cubicBezTo>
                    <a:pt x="660" y="221"/>
                    <a:pt x="660" y="221"/>
                    <a:pt x="660" y="221"/>
                  </a:cubicBezTo>
                  <a:cubicBezTo>
                    <a:pt x="671" y="221"/>
                    <a:pt x="681" y="221"/>
                    <a:pt x="690" y="221"/>
                  </a:cubicBezTo>
                  <a:close/>
                  <a:moveTo>
                    <a:pt x="818" y="77"/>
                  </a:moveTo>
                  <a:cubicBezTo>
                    <a:pt x="825" y="64"/>
                    <a:pt x="832" y="55"/>
                    <a:pt x="839" y="48"/>
                  </a:cubicBezTo>
                  <a:cubicBezTo>
                    <a:pt x="839" y="0"/>
                    <a:pt x="839" y="0"/>
                    <a:pt x="839" y="0"/>
                  </a:cubicBezTo>
                  <a:cubicBezTo>
                    <a:pt x="809" y="0"/>
                    <a:pt x="809" y="0"/>
                    <a:pt x="809" y="0"/>
                  </a:cubicBezTo>
                  <a:cubicBezTo>
                    <a:pt x="809" y="119"/>
                    <a:pt x="809" y="119"/>
                    <a:pt x="809" y="119"/>
                  </a:cubicBezTo>
                  <a:cubicBezTo>
                    <a:pt x="810" y="103"/>
                    <a:pt x="812" y="88"/>
                    <a:pt x="818" y="77"/>
                  </a:cubicBezTo>
                  <a:close/>
                  <a:moveTo>
                    <a:pt x="179" y="221"/>
                  </a:moveTo>
                  <a:cubicBezTo>
                    <a:pt x="179" y="0"/>
                    <a:pt x="179" y="0"/>
                    <a:pt x="17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58" y="221"/>
                    <a:pt x="168" y="221"/>
                    <a:pt x="179" y="221"/>
                  </a:cubicBezTo>
                  <a:close/>
                  <a:moveTo>
                    <a:pt x="95" y="221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221"/>
                    <a:pt x="65" y="221"/>
                    <a:pt x="65" y="221"/>
                  </a:cubicBezTo>
                  <a:cubicBezTo>
                    <a:pt x="72" y="221"/>
                    <a:pt x="83" y="221"/>
                    <a:pt x="95" y="221"/>
                  </a:cubicBezTo>
                  <a:close/>
                  <a:moveTo>
                    <a:pt x="20" y="77"/>
                  </a:moveTo>
                  <a:cubicBezTo>
                    <a:pt x="26" y="88"/>
                    <a:pt x="29" y="104"/>
                    <a:pt x="30" y="12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55"/>
                    <a:pt x="13" y="64"/>
                    <a:pt x="20" y="77"/>
                  </a:cubicBezTo>
                  <a:close/>
                  <a:moveTo>
                    <a:pt x="393" y="221"/>
                  </a:moveTo>
                  <a:cubicBezTo>
                    <a:pt x="393" y="0"/>
                    <a:pt x="393" y="0"/>
                    <a:pt x="393" y="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363" y="221"/>
                    <a:pt x="363" y="221"/>
                    <a:pt x="363" y="221"/>
                  </a:cubicBezTo>
                  <a:cubicBezTo>
                    <a:pt x="374" y="221"/>
                    <a:pt x="385" y="221"/>
                    <a:pt x="393" y="221"/>
                  </a:cubicBezTo>
                  <a:close/>
                  <a:moveTo>
                    <a:pt x="244" y="221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221"/>
                    <a:pt x="214" y="221"/>
                    <a:pt x="214" y="221"/>
                  </a:cubicBezTo>
                  <a:cubicBezTo>
                    <a:pt x="224" y="221"/>
                    <a:pt x="234" y="221"/>
                    <a:pt x="244" y="221"/>
                  </a:cubicBezTo>
                  <a:close/>
                  <a:moveTo>
                    <a:pt x="327" y="221"/>
                  </a:moveTo>
                  <a:cubicBezTo>
                    <a:pt x="327" y="0"/>
                    <a:pt x="327" y="0"/>
                    <a:pt x="327" y="0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221"/>
                    <a:pt x="297" y="221"/>
                    <a:pt x="297" y="221"/>
                  </a:cubicBezTo>
                  <a:cubicBezTo>
                    <a:pt x="308" y="221"/>
                    <a:pt x="318" y="221"/>
                    <a:pt x="327" y="221"/>
                  </a:cubicBezTo>
                  <a:close/>
                  <a:moveTo>
                    <a:pt x="824" y="346"/>
                  </a:moveTo>
                  <a:cubicBezTo>
                    <a:pt x="15" y="346"/>
                    <a:pt x="15" y="346"/>
                    <a:pt x="15" y="346"/>
                  </a:cubicBezTo>
                  <a:cubicBezTo>
                    <a:pt x="15" y="1195"/>
                    <a:pt x="15" y="1195"/>
                    <a:pt x="15" y="1195"/>
                  </a:cubicBezTo>
                  <a:cubicBezTo>
                    <a:pt x="824" y="1195"/>
                    <a:pt x="824" y="1195"/>
                    <a:pt x="824" y="1195"/>
                  </a:cubicBezTo>
                  <a:lnTo>
                    <a:pt x="824" y="346"/>
                  </a:lnTo>
                  <a:close/>
                </a:path>
              </a:pathLst>
            </a:custGeom>
            <a:solidFill>
              <a:srgbClr val="98A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Freeform 30">
              <a:extLst>
                <a:ext uri="{FF2B5EF4-FFF2-40B4-BE49-F238E27FC236}">
                  <a16:creationId xmlns:a16="http://schemas.microsoft.com/office/drawing/2014/main" xmlns="" id="{163C2665-08F5-44B2-B34B-D8E4D63E0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3735" y="2639569"/>
              <a:ext cx="1475743" cy="2412590"/>
            </a:xfrm>
            <a:custGeom>
              <a:avLst/>
              <a:gdLst>
                <a:gd name="T0" fmla="*/ 948 w 1056"/>
                <a:gd name="T1" fmla="*/ 339 h 1725"/>
                <a:gd name="T2" fmla="*/ 948 w 1056"/>
                <a:gd name="T3" fmla="*/ 408 h 1725"/>
                <a:gd name="T4" fmla="*/ 874 w 1056"/>
                <a:gd name="T5" fmla="*/ 408 h 1725"/>
                <a:gd name="T6" fmla="*/ 852 w 1056"/>
                <a:gd name="T7" fmla="*/ 379 h 1725"/>
                <a:gd name="T8" fmla="*/ 852 w 1056"/>
                <a:gd name="T9" fmla="*/ 169 h 1725"/>
                <a:gd name="T10" fmla="*/ 926 w 1056"/>
                <a:gd name="T11" fmla="*/ 140 h 1725"/>
                <a:gd name="T12" fmla="*/ 778 w 1056"/>
                <a:gd name="T13" fmla="*/ 140 h 1725"/>
                <a:gd name="T14" fmla="*/ 703 w 1056"/>
                <a:gd name="T15" fmla="*/ 169 h 1725"/>
                <a:gd name="T16" fmla="*/ 703 w 1056"/>
                <a:gd name="T17" fmla="*/ 379 h 1725"/>
                <a:gd name="T18" fmla="*/ 725 w 1056"/>
                <a:gd name="T19" fmla="*/ 408 h 1725"/>
                <a:gd name="T20" fmla="*/ 799 w 1056"/>
                <a:gd name="T21" fmla="*/ 408 h 1725"/>
                <a:gd name="T22" fmla="*/ 799 w 1056"/>
                <a:gd name="T23" fmla="*/ 339 h 1725"/>
                <a:gd name="T24" fmla="*/ 778 w 1056"/>
                <a:gd name="T25" fmla="*/ 140 h 1725"/>
                <a:gd name="T26" fmla="*/ 428 w 1056"/>
                <a:gd name="T27" fmla="*/ 140 h 1725"/>
                <a:gd name="T28" fmla="*/ 406 w 1056"/>
                <a:gd name="T29" fmla="*/ 339 h 1725"/>
                <a:gd name="T30" fmla="*/ 406 w 1056"/>
                <a:gd name="T31" fmla="*/ 408 h 1725"/>
                <a:gd name="T32" fmla="*/ 480 w 1056"/>
                <a:gd name="T33" fmla="*/ 408 h 1725"/>
                <a:gd name="T34" fmla="*/ 502 w 1056"/>
                <a:gd name="T35" fmla="*/ 379 h 1725"/>
                <a:gd name="T36" fmla="*/ 502 w 1056"/>
                <a:gd name="T37" fmla="*/ 169 h 1725"/>
                <a:gd name="T38" fmla="*/ 629 w 1056"/>
                <a:gd name="T39" fmla="*/ 140 h 1725"/>
                <a:gd name="T40" fmla="*/ 555 w 1056"/>
                <a:gd name="T41" fmla="*/ 169 h 1725"/>
                <a:gd name="T42" fmla="*/ 555 w 1056"/>
                <a:gd name="T43" fmla="*/ 379 h 1725"/>
                <a:gd name="T44" fmla="*/ 577 w 1056"/>
                <a:gd name="T45" fmla="*/ 408 h 1725"/>
                <a:gd name="T46" fmla="*/ 651 w 1056"/>
                <a:gd name="T47" fmla="*/ 408 h 1725"/>
                <a:gd name="T48" fmla="*/ 651 w 1056"/>
                <a:gd name="T49" fmla="*/ 339 h 1725"/>
                <a:gd name="T50" fmla="*/ 629 w 1056"/>
                <a:gd name="T51" fmla="*/ 140 h 1725"/>
                <a:gd name="T52" fmla="*/ 131 w 1056"/>
                <a:gd name="T53" fmla="*/ 140 h 1725"/>
                <a:gd name="T54" fmla="*/ 109 w 1056"/>
                <a:gd name="T55" fmla="*/ 339 h 1725"/>
                <a:gd name="T56" fmla="*/ 109 w 1056"/>
                <a:gd name="T57" fmla="*/ 408 h 1725"/>
                <a:gd name="T58" fmla="*/ 183 w 1056"/>
                <a:gd name="T59" fmla="*/ 408 h 1725"/>
                <a:gd name="T60" fmla="*/ 205 w 1056"/>
                <a:gd name="T61" fmla="*/ 379 h 1725"/>
                <a:gd name="T62" fmla="*/ 205 w 1056"/>
                <a:gd name="T63" fmla="*/ 169 h 1725"/>
                <a:gd name="T64" fmla="*/ 332 w 1056"/>
                <a:gd name="T65" fmla="*/ 140 h 1725"/>
                <a:gd name="T66" fmla="*/ 258 w 1056"/>
                <a:gd name="T67" fmla="*/ 169 h 1725"/>
                <a:gd name="T68" fmla="*/ 258 w 1056"/>
                <a:gd name="T69" fmla="*/ 379 h 1725"/>
                <a:gd name="T70" fmla="*/ 279 w 1056"/>
                <a:gd name="T71" fmla="*/ 408 h 1725"/>
                <a:gd name="T72" fmla="*/ 353 w 1056"/>
                <a:gd name="T73" fmla="*/ 408 h 1725"/>
                <a:gd name="T74" fmla="*/ 353 w 1056"/>
                <a:gd name="T75" fmla="*/ 339 h 1725"/>
                <a:gd name="T76" fmla="*/ 332 w 1056"/>
                <a:gd name="T77" fmla="*/ 140 h 1725"/>
                <a:gd name="T78" fmla="*/ 1056 w 1056"/>
                <a:gd name="T79" fmla="*/ 426 h 1725"/>
                <a:gd name="T80" fmla="*/ 1026 w 1056"/>
                <a:gd name="T81" fmla="*/ 406 h 1725"/>
                <a:gd name="T82" fmla="*/ 908 w 1056"/>
                <a:gd name="T83" fmla="*/ 489 h 1725"/>
                <a:gd name="T84" fmla="*/ 891 w 1056"/>
                <a:gd name="T85" fmla="*/ 621 h 1725"/>
                <a:gd name="T86" fmla="*/ 173 w 1056"/>
                <a:gd name="T87" fmla="*/ 629 h 1725"/>
                <a:gd name="T88" fmla="*/ 162 w 1056"/>
                <a:gd name="T89" fmla="*/ 571 h 1725"/>
                <a:gd name="T90" fmla="*/ 62 w 1056"/>
                <a:gd name="T91" fmla="*/ 418 h 1725"/>
                <a:gd name="T92" fmla="*/ 10 w 1056"/>
                <a:gd name="T93" fmla="*/ 408 h 1725"/>
                <a:gd name="T94" fmla="*/ 0 w 1056"/>
                <a:gd name="T95" fmla="*/ 1681 h 1725"/>
                <a:gd name="T96" fmla="*/ 1012 w 1056"/>
                <a:gd name="T97" fmla="*/ 1725 h 1725"/>
                <a:gd name="T98" fmla="*/ 45 w 1056"/>
                <a:gd name="T99" fmla="*/ 459 h 1725"/>
                <a:gd name="T100" fmla="*/ 118 w 1056"/>
                <a:gd name="T101" fmla="*/ 572 h 1725"/>
                <a:gd name="T102" fmla="*/ 173 w 1056"/>
                <a:gd name="T103" fmla="*/ 673 h 1725"/>
                <a:gd name="T104" fmla="*/ 933 w 1056"/>
                <a:gd name="T105" fmla="*/ 633 h 1725"/>
                <a:gd name="T106" fmla="*/ 947 w 1056"/>
                <a:gd name="T107" fmla="*/ 509 h 1725"/>
                <a:gd name="T108" fmla="*/ 1012 w 1056"/>
                <a:gd name="T109" fmla="*/ 459 h 1725"/>
                <a:gd name="T110" fmla="*/ 44 w 1056"/>
                <a:gd name="T111" fmla="*/ 1681 h 1725"/>
                <a:gd name="T112" fmla="*/ 45 w 1056"/>
                <a:gd name="T113" fmla="*/ 459 h 1725"/>
                <a:gd name="T114" fmla="*/ 1012 w 1056"/>
                <a:gd name="T115" fmla="*/ 0 h 1725"/>
                <a:gd name="T116" fmla="*/ 0 w 1056"/>
                <a:gd name="T117" fmla="*/ 44 h 1725"/>
                <a:gd name="T118" fmla="*/ 44 w 1056"/>
                <a:gd name="T119" fmla="*/ 426 h 1725"/>
                <a:gd name="T120" fmla="*/ 1012 w 1056"/>
                <a:gd name="T121" fmla="*/ 44 h 1725"/>
                <a:gd name="T122" fmla="*/ 1056 w 1056"/>
                <a:gd name="T123" fmla="*/ 426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6" h="1725">
                  <a:moveTo>
                    <a:pt x="948" y="169"/>
                  </a:moveTo>
                  <a:cubicBezTo>
                    <a:pt x="948" y="339"/>
                    <a:pt x="948" y="339"/>
                    <a:pt x="948" y="339"/>
                  </a:cubicBezTo>
                  <a:cubicBezTo>
                    <a:pt x="948" y="379"/>
                    <a:pt x="948" y="379"/>
                    <a:pt x="948" y="379"/>
                  </a:cubicBezTo>
                  <a:cubicBezTo>
                    <a:pt x="948" y="408"/>
                    <a:pt x="948" y="408"/>
                    <a:pt x="948" y="408"/>
                  </a:cubicBezTo>
                  <a:cubicBezTo>
                    <a:pt x="926" y="408"/>
                    <a:pt x="926" y="408"/>
                    <a:pt x="926" y="408"/>
                  </a:cubicBezTo>
                  <a:cubicBezTo>
                    <a:pt x="874" y="408"/>
                    <a:pt x="874" y="408"/>
                    <a:pt x="874" y="408"/>
                  </a:cubicBezTo>
                  <a:cubicBezTo>
                    <a:pt x="852" y="408"/>
                    <a:pt x="852" y="408"/>
                    <a:pt x="852" y="408"/>
                  </a:cubicBezTo>
                  <a:cubicBezTo>
                    <a:pt x="852" y="379"/>
                    <a:pt x="852" y="379"/>
                    <a:pt x="852" y="379"/>
                  </a:cubicBezTo>
                  <a:cubicBezTo>
                    <a:pt x="852" y="339"/>
                    <a:pt x="852" y="339"/>
                    <a:pt x="852" y="339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53"/>
                    <a:pt x="862" y="140"/>
                    <a:pt x="874" y="140"/>
                  </a:cubicBezTo>
                  <a:cubicBezTo>
                    <a:pt x="926" y="140"/>
                    <a:pt x="926" y="140"/>
                    <a:pt x="926" y="140"/>
                  </a:cubicBezTo>
                  <a:cubicBezTo>
                    <a:pt x="938" y="140"/>
                    <a:pt x="948" y="153"/>
                    <a:pt x="948" y="169"/>
                  </a:cubicBezTo>
                  <a:close/>
                  <a:moveTo>
                    <a:pt x="778" y="140"/>
                  </a:moveTo>
                  <a:cubicBezTo>
                    <a:pt x="725" y="140"/>
                    <a:pt x="725" y="140"/>
                    <a:pt x="725" y="140"/>
                  </a:cubicBezTo>
                  <a:cubicBezTo>
                    <a:pt x="713" y="140"/>
                    <a:pt x="703" y="153"/>
                    <a:pt x="703" y="169"/>
                  </a:cubicBezTo>
                  <a:cubicBezTo>
                    <a:pt x="703" y="339"/>
                    <a:pt x="703" y="339"/>
                    <a:pt x="703" y="339"/>
                  </a:cubicBezTo>
                  <a:cubicBezTo>
                    <a:pt x="703" y="379"/>
                    <a:pt x="703" y="379"/>
                    <a:pt x="703" y="379"/>
                  </a:cubicBezTo>
                  <a:cubicBezTo>
                    <a:pt x="703" y="408"/>
                    <a:pt x="703" y="408"/>
                    <a:pt x="703" y="408"/>
                  </a:cubicBezTo>
                  <a:cubicBezTo>
                    <a:pt x="725" y="408"/>
                    <a:pt x="725" y="408"/>
                    <a:pt x="725" y="408"/>
                  </a:cubicBezTo>
                  <a:cubicBezTo>
                    <a:pt x="778" y="408"/>
                    <a:pt x="778" y="408"/>
                    <a:pt x="778" y="408"/>
                  </a:cubicBezTo>
                  <a:cubicBezTo>
                    <a:pt x="799" y="408"/>
                    <a:pt x="799" y="408"/>
                    <a:pt x="799" y="408"/>
                  </a:cubicBezTo>
                  <a:cubicBezTo>
                    <a:pt x="799" y="379"/>
                    <a:pt x="799" y="379"/>
                    <a:pt x="799" y="379"/>
                  </a:cubicBezTo>
                  <a:cubicBezTo>
                    <a:pt x="799" y="339"/>
                    <a:pt x="799" y="339"/>
                    <a:pt x="799" y="339"/>
                  </a:cubicBezTo>
                  <a:cubicBezTo>
                    <a:pt x="799" y="169"/>
                    <a:pt x="799" y="169"/>
                    <a:pt x="799" y="169"/>
                  </a:cubicBezTo>
                  <a:cubicBezTo>
                    <a:pt x="799" y="153"/>
                    <a:pt x="790" y="140"/>
                    <a:pt x="778" y="140"/>
                  </a:cubicBezTo>
                  <a:close/>
                  <a:moveTo>
                    <a:pt x="480" y="140"/>
                  </a:moveTo>
                  <a:cubicBezTo>
                    <a:pt x="428" y="140"/>
                    <a:pt x="428" y="140"/>
                    <a:pt x="428" y="140"/>
                  </a:cubicBezTo>
                  <a:cubicBezTo>
                    <a:pt x="416" y="140"/>
                    <a:pt x="406" y="153"/>
                    <a:pt x="406" y="169"/>
                  </a:cubicBezTo>
                  <a:cubicBezTo>
                    <a:pt x="406" y="339"/>
                    <a:pt x="406" y="339"/>
                    <a:pt x="406" y="339"/>
                  </a:cubicBezTo>
                  <a:cubicBezTo>
                    <a:pt x="406" y="379"/>
                    <a:pt x="406" y="379"/>
                    <a:pt x="406" y="379"/>
                  </a:cubicBezTo>
                  <a:cubicBezTo>
                    <a:pt x="406" y="408"/>
                    <a:pt x="406" y="408"/>
                    <a:pt x="406" y="408"/>
                  </a:cubicBezTo>
                  <a:cubicBezTo>
                    <a:pt x="428" y="408"/>
                    <a:pt x="428" y="408"/>
                    <a:pt x="428" y="408"/>
                  </a:cubicBezTo>
                  <a:cubicBezTo>
                    <a:pt x="480" y="408"/>
                    <a:pt x="480" y="408"/>
                    <a:pt x="480" y="408"/>
                  </a:cubicBezTo>
                  <a:cubicBezTo>
                    <a:pt x="502" y="408"/>
                    <a:pt x="502" y="408"/>
                    <a:pt x="502" y="408"/>
                  </a:cubicBezTo>
                  <a:cubicBezTo>
                    <a:pt x="502" y="379"/>
                    <a:pt x="502" y="379"/>
                    <a:pt x="502" y="379"/>
                  </a:cubicBezTo>
                  <a:cubicBezTo>
                    <a:pt x="502" y="339"/>
                    <a:pt x="502" y="339"/>
                    <a:pt x="502" y="339"/>
                  </a:cubicBezTo>
                  <a:cubicBezTo>
                    <a:pt x="502" y="169"/>
                    <a:pt x="502" y="169"/>
                    <a:pt x="502" y="169"/>
                  </a:cubicBezTo>
                  <a:cubicBezTo>
                    <a:pt x="502" y="153"/>
                    <a:pt x="492" y="140"/>
                    <a:pt x="480" y="140"/>
                  </a:cubicBezTo>
                  <a:close/>
                  <a:moveTo>
                    <a:pt x="629" y="140"/>
                  </a:moveTo>
                  <a:cubicBezTo>
                    <a:pt x="577" y="140"/>
                    <a:pt x="577" y="140"/>
                    <a:pt x="577" y="140"/>
                  </a:cubicBezTo>
                  <a:cubicBezTo>
                    <a:pt x="565" y="140"/>
                    <a:pt x="555" y="153"/>
                    <a:pt x="555" y="169"/>
                  </a:cubicBezTo>
                  <a:cubicBezTo>
                    <a:pt x="555" y="339"/>
                    <a:pt x="555" y="339"/>
                    <a:pt x="555" y="339"/>
                  </a:cubicBezTo>
                  <a:cubicBezTo>
                    <a:pt x="555" y="379"/>
                    <a:pt x="555" y="379"/>
                    <a:pt x="555" y="379"/>
                  </a:cubicBezTo>
                  <a:cubicBezTo>
                    <a:pt x="555" y="408"/>
                    <a:pt x="555" y="408"/>
                    <a:pt x="555" y="408"/>
                  </a:cubicBezTo>
                  <a:cubicBezTo>
                    <a:pt x="577" y="408"/>
                    <a:pt x="577" y="408"/>
                    <a:pt x="577" y="408"/>
                  </a:cubicBezTo>
                  <a:cubicBezTo>
                    <a:pt x="629" y="408"/>
                    <a:pt x="629" y="408"/>
                    <a:pt x="629" y="408"/>
                  </a:cubicBezTo>
                  <a:cubicBezTo>
                    <a:pt x="651" y="408"/>
                    <a:pt x="651" y="408"/>
                    <a:pt x="651" y="408"/>
                  </a:cubicBezTo>
                  <a:cubicBezTo>
                    <a:pt x="651" y="379"/>
                    <a:pt x="651" y="379"/>
                    <a:pt x="651" y="37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169"/>
                    <a:pt x="651" y="169"/>
                    <a:pt x="651" y="169"/>
                  </a:cubicBezTo>
                  <a:cubicBezTo>
                    <a:pt x="651" y="153"/>
                    <a:pt x="641" y="140"/>
                    <a:pt x="629" y="140"/>
                  </a:cubicBezTo>
                  <a:close/>
                  <a:moveTo>
                    <a:pt x="183" y="140"/>
                  </a:moveTo>
                  <a:cubicBezTo>
                    <a:pt x="131" y="140"/>
                    <a:pt x="131" y="140"/>
                    <a:pt x="131" y="140"/>
                  </a:cubicBezTo>
                  <a:cubicBezTo>
                    <a:pt x="119" y="140"/>
                    <a:pt x="109" y="153"/>
                    <a:pt x="109" y="16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9" y="379"/>
                    <a:pt x="109" y="379"/>
                    <a:pt x="109" y="379"/>
                  </a:cubicBezTo>
                  <a:cubicBezTo>
                    <a:pt x="109" y="408"/>
                    <a:pt x="109" y="408"/>
                    <a:pt x="109" y="408"/>
                  </a:cubicBezTo>
                  <a:cubicBezTo>
                    <a:pt x="131" y="408"/>
                    <a:pt x="131" y="408"/>
                    <a:pt x="131" y="408"/>
                  </a:cubicBezTo>
                  <a:cubicBezTo>
                    <a:pt x="183" y="408"/>
                    <a:pt x="183" y="408"/>
                    <a:pt x="183" y="408"/>
                  </a:cubicBezTo>
                  <a:cubicBezTo>
                    <a:pt x="205" y="408"/>
                    <a:pt x="205" y="408"/>
                    <a:pt x="205" y="408"/>
                  </a:cubicBezTo>
                  <a:cubicBezTo>
                    <a:pt x="205" y="379"/>
                    <a:pt x="205" y="379"/>
                    <a:pt x="205" y="379"/>
                  </a:cubicBezTo>
                  <a:cubicBezTo>
                    <a:pt x="205" y="339"/>
                    <a:pt x="205" y="339"/>
                    <a:pt x="205" y="33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53"/>
                    <a:pt x="195" y="140"/>
                    <a:pt x="183" y="140"/>
                  </a:cubicBezTo>
                  <a:close/>
                  <a:moveTo>
                    <a:pt x="332" y="140"/>
                  </a:moveTo>
                  <a:cubicBezTo>
                    <a:pt x="279" y="140"/>
                    <a:pt x="279" y="140"/>
                    <a:pt x="279" y="140"/>
                  </a:cubicBezTo>
                  <a:cubicBezTo>
                    <a:pt x="267" y="140"/>
                    <a:pt x="258" y="153"/>
                    <a:pt x="258" y="169"/>
                  </a:cubicBezTo>
                  <a:cubicBezTo>
                    <a:pt x="258" y="339"/>
                    <a:pt x="258" y="339"/>
                    <a:pt x="258" y="339"/>
                  </a:cubicBezTo>
                  <a:cubicBezTo>
                    <a:pt x="258" y="379"/>
                    <a:pt x="258" y="379"/>
                    <a:pt x="258" y="379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79" y="408"/>
                    <a:pt x="279" y="408"/>
                    <a:pt x="279" y="408"/>
                  </a:cubicBezTo>
                  <a:cubicBezTo>
                    <a:pt x="332" y="408"/>
                    <a:pt x="332" y="408"/>
                    <a:pt x="332" y="408"/>
                  </a:cubicBezTo>
                  <a:cubicBezTo>
                    <a:pt x="353" y="408"/>
                    <a:pt x="353" y="408"/>
                    <a:pt x="353" y="408"/>
                  </a:cubicBezTo>
                  <a:cubicBezTo>
                    <a:pt x="353" y="379"/>
                    <a:pt x="353" y="379"/>
                    <a:pt x="353" y="379"/>
                  </a:cubicBezTo>
                  <a:cubicBezTo>
                    <a:pt x="353" y="339"/>
                    <a:pt x="353" y="339"/>
                    <a:pt x="353" y="339"/>
                  </a:cubicBezTo>
                  <a:cubicBezTo>
                    <a:pt x="353" y="169"/>
                    <a:pt x="353" y="169"/>
                    <a:pt x="353" y="169"/>
                  </a:cubicBezTo>
                  <a:cubicBezTo>
                    <a:pt x="353" y="153"/>
                    <a:pt x="344" y="140"/>
                    <a:pt x="332" y="140"/>
                  </a:cubicBezTo>
                  <a:close/>
                  <a:moveTo>
                    <a:pt x="1056" y="1681"/>
                  </a:moveTo>
                  <a:cubicBezTo>
                    <a:pt x="1056" y="426"/>
                    <a:pt x="1056" y="426"/>
                    <a:pt x="1056" y="426"/>
                  </a:cubicBezTo>
                  <a:cubicBezTo>
                    <a:pt x="1056" y="418"/>
                    <a:pt x="1053" y="412"/>
                    <a:pt x="1046" y="408"/>
                  </a:cubicBezTo>
                  <a:cubicBezTo>
                    <a:pt x="1040" y="403"/>
                    <a:pt x="1032" y="403"/>
                    <a:pt x="1026" y="406"/>
                  </a:cubicBezTo>
                  <a:cubicBezTo>
                    <a:pt x="1014" y="411"/>
                    <a:pt x="1004" y="415"/>
                    <a:pt x="995" y="418"/>
                  </a:cubicBezTo>
                  <a:cubicBezTo>
                    <a:pt x="954" y="435"/>
                    <a:pt x="931" y="444"/>
                    <a:pt x="908" y="489"/>
                  </a:cubicBezTo>
                  <a:cubicBezTo>
                    <a:pt x="896" y="512"/>
                    <a:pt x="896" y="542"/>
                    <a:pt x="895" y="571"/>
                  </a:cubicBezTo>
                  <a:cubicBezTo>
                    <a:pt x="895" y="590"/>
                    <a:pt x="894" y="609"/>
                    <a:pt x="891" y="621"/>
                  </a:cubicBezTo>
                  <a:cubicBezTo>
                    <a:pt x="888" y="629"/>
                    <a:pt x="887" y="629"/>
                    <a:pt x="884" y="629"/>
                  </a:cubicBezTo>
                  <a:cubicBezTo>
                    <a:pt x="173" y="629"/>
                    <a:pt x="173" y="629"/>
                    <a:pt x="173" y="629"/>
                  </a:cubicBezTo>
                  <a:cubicBezTo>
                    <a:pt x="170" y="629"/>
                    <a:pt x="168" y="629"/>
                    <a:pt x="166" y="621"/>
                  </a:cubicBezTo>
                  <a:cubicBezTo>
                    <a:pt x="162" y="609"/>
                    <a:pt x="162" y="590"/>
                    <a:pt x="162" y="571"/>
                  </a:cubicBezTo>
                  <a:cubicBezTo>
                    <a:pt x="161" y="542"/>
                    <a:pt x="160" y="512"/>
                    <a:pt x="149" y="489"/>
                  </a:cubicBezTo>
                  <a:cubicBezTo>
                    <a:pt x="126" y="444"/>
                    <a:pt x="103" y="435"/>
                    <a:pt x="62" y="418"/>
                  </a:cubicBezTo>
                  <a:cubicBezTo>
                    <a:pt x="53" y="415"/>
                    <a:pt x="43" y="411"/>
                    <a:pt x="31" y="406"/>
                  </a:cubicBezTo>
                  <a:cubicBezTo>
                    <a:pt x="24" y="403"/>
                    <a:pt x="16" y="403"/>
                    <a:pt x="10" y="408"/>
                  </a:cubicBezTo>
                  <a:cubicBezTo>
                    <a:pt x="4" y="412"/>
                    <a:pt x="0" y="418"/>
                    <a:pt x="0" y="426"/>
                  </a:cubicBezTo>
                  <a:cubicBezTo>
                    <a:pt x="0" y="1681"/>
                    <a:pt x="0" y="1681"/>
                    <a:pt x="0" y="1681"/>
                  </a:cubicBezTo>
                  <a:cubicBezTo>
                    <a:pt x="0" y="1705"/>
                    <a:pt x="20" y="1725"/>
                    <a:pt x="44" y="1725"/>
                  </a:cubicBezTo>
                  <a:cubicBezTo>
                    <a:pt x="1012" y="1725"/>
                    <a:pt x="1012" y="1725"/>
                    <a:pt x="1012" y="1725"/>
                  </a:cubicBezTo>
                  <a:cubicBezTo>
                    <a:pt x="1037" y="1725"/>
                    <a:pt x="1056" y="1705"/>
                    <a:pt x="1056" y="1681"/>
                  </a:cubicBezTo>
                  <a:close/>
                  <a:moveTo>
                    <a:pt x="45" y="459"/>
                  </a:moveTo>
                  <a:cubicBezTo>
                    <a:pt x="84" y="474"/>
                    <a:pt x="94" y="479"/>
                    <a:pt x="110" y="509"/>
                  </a:cubicBezTo>
                  <a:cubicBezTo>
                    <a:pt x="117" y="523"/>
                    <a:pt x="117" y="549"/>
                    <a:pt x="118" y="572"/>
                  </a:cubicBezTo>
                  <a:cubicBezTo>
                    <a:pt x="118" y="594"/>
                    <a:pt x="119" y="615"/>
                    <a:pt x="124" y="633"/>
                  </a:cubicBezTo>
                  <a:cubicBezTo>
                    <a:pt x="134" y="668"/>
                    <a:pt x="159" y="673"/>
                    <a:pt x="173" y="673"/>
                  </a:cubicBezTo>
                  <a:cubicBezTo>
                    <a:pt x="884" y="673"/>
                    <a:pt x="884" y="673"/>
                    <a:pt x="884" y="673"/>
                  </a:cubicBezTo>
                  <a:cubicBezTo>
                    <a:pt x="898" y="673"/>
                    <a:pt x="923" y="668"/>
                    <a:pt x="933" y="633"/>
                  </a:cubicBezTo>
                  <a:cubicBezTo>
                    <a:pt x="938" y="615"/>
                    <a:pt x="938" y="594"/>
                    <a:pt x="939" y="572"/>
                  </a:cubicBezTo>
                  <a:cubicBezTo>
                    <a:pt x="939" y="549"/>
                    <a:pt x="940" y="523"/>
                    <a:pt x="947" y="509"/>
                  </a:cubicBezTo>
                  <a:cubicBezTo>
                    <a:pt x="962" y="479"/>
                    <a:pt x="973" y="474"/>
                    <a:pt x="1011" y="459"/>
                  </a:cubicBezTo>
                  <a:cubicBezTo>
                    <a:pt x="1012" y="459"/>
                    <a:pt x="1012" y="459"/>
                    <a:pt x="1012" y="459"/>
                  </a:cubicBezTo>
                  <a:cubicBezTo>
                    <a:pt x="1012" y="1681"/>
                    <a:pt x="1012" y="1681"/>
                    <a:pt x="1012" y="1681"/>
                  </a:cubicBezTo>
                  <a:cubicBezTo>
                    <a:pt x="44" y="1681"/>
                    <a:pt x="44" y="1681"/>
                    <a:pt x="44" y="1681"/>
                  </a:cubicBezTo>
                  <a:cubicBezTo>
                    <a:pt x="44" y="459"/>
                    <a:pt x="44" y="459"/>
                    <a:pt x="44" y="459"/>
                  </a:cubicBezTo>
                  <a:cubicBezTo>
                    <a:pt x="45" y="459"/>
                    <a:pt x="45" y="459"/>
                    <a:pt x="45" y="459"/>
                  </a:cubicBezTo>
                  <a:close/>
                  <a:moveTo>
                    <a:pt x="1056" y="44"/>
                  </a:moveTo>
                  <a:cubicBezTo>
                    <a:pt x="1056" y="20"/>
                    <a:pt x="1037" y="0"/>
                    <a:pt x="101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012" y="44"/>
                    <a:pt x="1012" y="44"/>
                    <a:pt x="1012" y="44"/>
                  </a:cubicBezTo>
                  <a:cubicBezTo>
                    <a:pt x="1012" y="426"/>
                    <a:pt x="1012" y="426"/>
                    <a:pt x="1012" y="426"/>
                  </a:cubicBezTo>
                  <a:cubicBezTo>
                    <a:pt x="1056" y="426"/>
                    <a:pt x="1056" y="426"/>
                    <a:pt x="1056" y="426"/>
                  </a:cubicBezTo>
                  <a:lnTo>
                    <a:pt x="1056" y="44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31">
              <a:extLst>
                <a:ext uri="{FF2B5EF4-FFF2-40B4-BE49-F238E27FC236}">
                  <a16:creationId xmlns:a16="http://schemas.microsoft.com/office/drawing/2014/main" xmlns="" id="{A7973B70-2B5F-43E0-879E-EC7B6C945F4B}"/>
                </a:ext>
              </a:extLst>
            </p:cNvPr>
            <p:cNvSpPr/>
            <p:nvPr/>
          </p:nvSpPr>
          <p:spPr>
            <a:xfrm>
              <a:off x="3719513" y="3124200"/>
              <a:ext cx="51372" cy="368300"/>
            </a:xfrm>
            <a:prstGeom prst="rect">
              <a:avLst/>
            </a:prstGeom>
            <a:solidFill>
              <a:srgbClr val="58595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8595B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32">
              <a:extLst>
                <a:ext uri="{FF2B5EF4-FFF2-40B4-BE49-F238E27FC236}">
                  <a16:creationId xmlns:a16="http://schemas.microsoft.com/office/drawing/2014/main" xmlns="" id="{B108C0B2-5970-458E-9BFB-2E4AD92D56E5}"/>
                </a:ext>
              </a:extLst>
            </p:cNvPr>
            <p:cNvSpPr/>
            <p:nvPr/>
          </p:nvSpPr>
          <p:spPr>
            <a:xfrm>
              <a:off x="5130963" y="3124200"/>
              <a:ext cx="51372" cy="368300"/>
            </a:xfrm>
            <a:prstGeom prst="rect">
              <a:avLst/>
            </a:prstGeom>
            <a:solidFill>
              <a:srgbClr val="58595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3522D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5">
            <a:extLst>
              <a:ext uri="{FF2B5EF4-FFF2-40B4-BE49-F238E27FC236}">
                <a16:creationId xmlns:a16="http://schemas.microsoft.com/office/drawing/2014/main" xmlns="" id="{E0DA6576-3945-40FD-A72E-063CAA975C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20764" y="1199320"/>
            <a:ext cx="1103914" cy="1103480"/>
            <a:chOff x="3642" y="444"/>
            <a:chExt cx="2543" cy="2542"/>
          </a:xfrm>
        </p:grpSpPr>
        <p:sp>
          <p:nvSpPr>
            <p:cNvPr id="13" name="AutoShape 14">
              <a:extLst>
                <a:ext uri="{FF2B5EF4-FFF2-40B4-BE49-F238E27FC236}">
                  <a16:creationId xmlns:a16="http://schemas.microsoft.com/office/drawing/2014/main" xmlns="" id="{5862430A-831D-4D08-B26B-9572F8C81E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642" y="444"/>
              <a:ext cx="2543" cy="2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7955814D-AFA6-4F7F-91B0-6D0DBCA1E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8" y="1149"/>
              <a:ext cx="1250" cy="1573"/>
            </a:xfrm>
            <a:custGeom>
              <a:avLst/>
              <a:gdLst>
                <a:gd name="T0" fmla="*/ 1123 w 1133"/>
                <a:gd name="T1" fmla="*/ 19 h 1426"/>
                <a:gd name="T2" fmla="*/ 1086 w 1133"/>
                <a:gd name="T3" fmla="*/ 0 h 1426"/>
                <a:gd name="T4" fmla="*/ 47 w 1133"/>
                <a:gd name="T5" fmla="*/ 0 h 1426"/>
                <a:gd name="T6" fmla="*/ 10 w 1133"/>
                <a:gd name="T7" fmla="*/ 19 h 1426"/>
                <a:gd name="T8" fmla="*/ 6 w 1133"/>
                <a:gd name="T9" fmla="*/ 61 h 1426"/>
                <a:gd name="T10" fmla="*/ 161 w 1133"/>
                <a:gd name="T11" fmla="*/ 288 h 1426"/>
                <a:gd name="T12" fmla="*/ 544 w 1133"/>
                <a:gd name="T13" fmla="*/ 444 h 1426"/>
                <a:gd name="T14" fmla="*/ 544 w 1133"/>
                <a:gd name="T15" fmla="*/ 660 h 1426"/>
                <a:gd name="T16" fmla="*/ 582 w 1133"/>
                <a:gd name="T17" fmla="*/ 666 h 1426"/>
                <a:gd name="T18" fmla="*/ 582 w 1133"/>
                <a:gd name="T19" fmla="*/ 666 h 1426"/>
                <a:gd name="T20" fmla="*/ 582 w 1133"/>
                <a:gd name="T21" fmla="*/ 666 h 1426"/>
                <a:gd name="T22" fmla="*/ 588 w 1133"/>
                <a:gd name="T23" fmla="*/ 667 h 1426"/>
                <a:gd name="T24" fmla="*/ 588 w 1133"/>
                <a:gd name="T25" fmla="*/ 444 h 1426"/>
                <a:gd name="T26" fmla="*/ 972 w 1133"/>
                <a:gd name="T27" fmla="*/ 288 h 1426"/>
                <a:gd name="T28" fmla="*/ 1127 w 1133"/>
                <a:gd name="T29" fmla="*/ 61 h 1426"/>
                <a:gd name="T30" fmla="*/ 1123 w 1133"/>
                <a:gd name="T31" fmla="*/ 19 h 1426"/>
                <a:gd name="T32" fmla="*/ 566 w 1133"/>
                <a:gd name="T33" fmla="*/ 400 h 1426"/>
                <a:gd name="T34" fmla="*/ 47 w 1133"/>
                <a:gd name="T35" fmla="*/ 44 h 1426"/>
                <a:gd name="T36" fmla="*/ 47 w 1133"/>
                <a:gd name="T37" fmla="*/ 44 h 1426"/>
                <a:gd name="T38" fmla="*/ 1086 w 1133"/>
                <a:gd name="T39" fmla="*/ 44 h 1426"/>
                <a:gd name="T40" fmla="*/ 566 w 1133"/>
                <a:gd name="T41" fmla="*/ 400 h 1426"/>
                <a:gd name="T42" fmla="*/ 717 w 1133"/>
                <a:gd name="T43" fmla="*/ 1393 h 1426"/>
                <a:gd name="T44" fmla="*/ 698 w 1133"/>
                <a:gd name="T45" fmla="*/ 1426 h 1426"/>
                <a:gd name="T46" fmla="*/ 435 w 1133"/>
                <a:gd name="T47" fmla="*/ 1426 h 1426"/>
                <a:gd name="T48" fmla="*/ 416 w 1133"/>
                <a:gd name="T49" fmla="*/ 1393 h 1426"/>
                <a:gd name="T50" fmla="*/ 544 w 1133"/>
                <a:gd name="T51" fmla="*/ 1311 h 1426"/>
                <a:gd name="T52" fmla="*/ 544 w 1133"/>
                <a:gd name="T53" fmla="*/ 1176 h 1426"/>
                <a:gd name="T54" fmla="*/ 588 w 1133"/>
                <a:gd name="T55" fmla="*/ 1180 h 1426"/>
                <a:gd name="T56" fmla="*/ 588 w 1133"/>
                <a:gd name="T57" fmla="*/ 1311 h 1426"/>
                <a:gd name="T58" fmla="*/ 717 w 1133"/>
                <a:gd name="T59" fmla="*/ 1393 h 1426"/>
                <a:gd name="T60" fmla="*/ 582 w 1133"/>
                <a:gd name="T61" fmla="*/ 1086 h 1426"/>
                <a:gd name="T62" fmla="*/ 582 w 1133"/>
                <a:gd name="T63" fmla="*/ 1086 h 1426"/>
                <a:gd name="T64" fmla="*/ 544 w 1133"/>
                <a:gd name="T65" fmla="*/ 1080 h 1426"/>
                <a:gd name="T66" fmla="*/ 544 w 1133"/>
                <a:gd name="T67" fmla="*/ 862 h 1426"/>
                <a:gd name="T68" fmla="*/ 588 w 1133"/>
                <a:gd name="T69" fmla="*/ 866 h 1426"/>
                <a:gd name="T70" fmla="*/ 588 w 1133"/>
                <a:gd name="T71" fmla="*/ 1087 h 1426"/>
                <a:gd name="T72" fmla="*/ 582 w 1133"/>
                <a:gd name="T73" fmla="*/ 1086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33" h="1426">
                  <a:moveTo>
                    <a:pt x="1123" y="19"/>
                  </a:moveTo>
                  <a:cubicBezTo>
                    <a:pt x="1115" y="7"/>
                    <a:pt x="1101" y="0"/>
                    <a:pt x="108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2" y="0"/>
                    <a:pt x="18" y="7"/>
                    <a:pt x="10" y="19"/>
                  </a:cubicBezTo>
                  <a:cubicBezTo>
                    <a:pt x="2" y="32"/>
                    <a:pt x="0" y="47"/>
                    <a:pt x="6" y="61"/>
                  </a:cubicBezTo>
                  <a:cubicBezTo>
                    <a:pt x="26" y="110"/>
                    <a:pt x="73" y="205"/>
                    <a:pt x="161" y="288"/>
                  </a:cubicBezTo>
                  <a:cubicBezTo>
                    <a:pt x="266" y="387"/>
                    <a:pt x="395" y="439"/>
                    <a:pt x="544" y="444"/>
                  </a:cubicBezTo>
                  <a:cubicBezTo>
                    <a:pt x="544" y="660"/>
                    <a:pt x="544" y="660"/>
                    <a:pt x="544" y="660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4" y="666"/>
                    <a:pt x="586" y="667"/>
                    <a:pt x="588" y="667"/>
                  </a:cubicBezTo>
                  <a:cubicBezTo>
                    <a:pt x="588" y="444"/>
                    <a:pt x="588" y="444"/>
                    <a:pt x="588" y="444"/>
                  </a:cubicBezTo>
                  <a:cubicBezTo>
                    <a:pt x="738" y="439"/>
                    <a:pt x="867" y="387"/>
                    <a:pt x="972" y="288"/>
                  </a:cubicBezTo>
                  <a:cubicBezTo>
                    <a:pt x="1060" y="205"/>
                    <a:pt x="1107" y="110"/>
                    <a:pt x="1127" y="61"/>
                  </a:cubicBezTo>
                  <a:cubicBezTo>
                    <a:pt x="1133" y="47"/>
                    <a:pt x="1131" y="32"/>
                    <a:pt x="1123" y="19"/>
                  </a:cubicBezTo>
                  <a:close/>
                  <a:moveTo>
                    <a:pt x="566" y="400"/>
                  </a:moveTo>
                  <a:cubicBezTo>
                    <a:pt x="220" y="400"/>
                    <a:pt x="81" y="127"/>
                    <a:pt x="47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86" y="44"/>
                    <a:pt x="1086" y="44"/>
                    <a:pt x="1086" y="44"/>
                  </a:cubicBezTo>
                  <a:cubicBezTo>
                    <a:pt x="1052" y="127"/>
                    <a:pt x="913" y="400"/>
                    <a:pt x="566" y="400"/>
                  </a:cubicBezTo>
                  <a:close/>
                  <a:moveTo>
                    <a:pt x="717" y="1393"/>
                  </a:moveTo>
                  <a:cubicBezTo>
                    <a:pt x="726" y="1407"/>
                    <a:pt x="716" y="1426"/>
                    <a:pt x="698" y="1426"/>
                  </a:cubicBezTo>
                  <a:cubicBezTo>
                    <a:pt x="435" y="1426"/>
                    <a:pt x="435" y="1426"/>
                    <a:pt x="435" y="1426"/>
                  </a:cubicBezTo>
                  <a:cubicBezTo>
                    <a:pt x="417" y="1426"/>
                    <a:pt x="407" y="1407"/>
                    <a:pt x="416" y="1393"/>
                  </a:cubicBezTo>
                  <a:cubicBezTo>
                    <a:pt x="436" y="1361"/>
                    <a:pt x="475" y="1319"/>
                    <a:pt x="544" y="1311"/>
                  </a:cubicBezTo>
                  <a:cubicBezTo>
                    <a:pt x="544" y="1176"/>
                    <a:pt x="544" y="1176"/>
                    <a:pt x="544" y="1176"/>
                  </a:cubicBezTo>
                  <a:cubicBezTo>
                    <a:pt x="554" y="1177"/>
                    <a:pt x="573" y="1179"/>
                    <a:pt x="588" y="1180"/>
                  </a:cubicBezTo>
                  <a:cubicBezTo>
                    <a:pt x="588" y="1311"/>
                    <a:pt x="588" y="1311"/>
                    <a:pt x="588" y="1311"/>
                  </a:cubicBezTo>
                  <a:cubicBezTo>
                    <a:pt x="658" y="1319"/>
                    <a:pt x="697" y="1361"/>
                    <a:pt x="717" y="1393"/>
                  </a:cubicBezTo>
                  <a:close/>
                  <a:moveTo>
                    <a:pt x="582" y="1086"/>
                  </a:moveTo>
                  <a:cubicBezTo>
                    <a:pt x="582" y="1086"/>
                    <a:pt x="582" y="1086"/>
                    <a:pt x="582" y="1086"/>
                  </a:cubicBezTo>
                  <a:cubicBezTo>
                    <a:pt x="544" y="1080"/>
                    <a:pt x="544" y="1080"/>
                    <a:pt x="544" y="1080"/>
                  </a:cubicBezTo>
                  <a:cubicBezTo>
                    <a:pt x="544" y="862"/>
                    <a:pt x="544" y="862"/>
                    <a:pt x="544" y="862"/>
                  </a:cubicBezTo>
                  <a:cubicBezTo>
                    <a:pt x="554" y="863"/>
                    <a:pt x="573" y="864"/>
                    <a:pt x="588" y="866"/>
                  </a:cubicBezTo>
                  <a:cubicBezTo>
                    <a:pt x="588" y="1087"/>
                    <a:pt x="588" y="1087"/>
                    <a:pt x="588" y="1087"/>
                  </a:cubicBezTo>
                  <a:cubicBezTo>
                    <a:pt x="586" y="1087"/>
                    <a:pt x="584" y="1086"/>
                    <a:pt x="582" y="1086"/>
                  </a:cubicBez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xmlns="" id="{67010E4C-FA2E-4FD6-95CE-850D79BE3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7" y="637"/>
              <a:ext cx="1230" cy="1903"/>
            </a:xfrm>
            <a:custGeom>
              <a:avLst/>
              <a:gdLst>
                <a:gd name="T0" fmla="*/ 443 w 1114"/>
                <a:gd name="T1" fmla="*/ 1672 h 1725"/>
                <a:gd name="T2" fmla="*/ 384 w 1114"/>
                <a:gd name="T3" fmla="*/ 1621 h 1725"/>
                <a:gd name="T4" fmla="*/ 361 w 1114"/>
                <a:gd name="T5" fmla="*/ 1615 h 1725"/>
                <a:gd name="T6" fmla="*/ 182 w 1114"/>
                <a:gd name="T7" fmla="*/ 1617 h 1725"/>
                <a:gd name="T8" fmla="*/ 101 w 1114"/>
                <a:gd name="T9" fmla="*/ 1582 h 1725"/>
                <a:gd name="T10" fmla="*/ 76 w 1114"/>
                <a:gd name="T11" fmla="*/ 1521 h 1725"/>
                <a:gd name="T12" fmla="*/ 83 w 1114"/>
                <a:gd name="T13" fmla="*/ 1488 h 1725"/>
                <a:gd name="T14" fmla="*/ 137 w 1114"/>
                <a:gd name="T15" fmla="*/ 1434 h 1725"/>
                <a:gd name="T16" fmla="*/ 231 w 1114"/>
                <a:gd name="T17" fmla="*/ 1402 h 1725"/>
                <a:gd name="T18" fmla="*/ 255 w 1114"/>
                <a:gd name="T19" fmla="*/ 1486 h 1725"/>
                <a:gd name="T20" fmla="*/ 174 w 1114"/>
                <a:gd name="T21" fmla="*/ 1505 h 1725"/>
                <a:gd name="T22" fmla="*/ 150 w 1114"/>
                <a:gd name="T23" fmla="*/ 1519 h 1725"/>
                <a:gd name="T24" fmla="*/ 149 w 1114"/>
                <a:gd name="T25" fmla="*/ 1521 h 1725"/>
                <a:gd name="T26" fmla="*/ 194 w 1114"/>
                <a:gd name="T27" fmla="*/ 1554 h 1725"/>
                <a:gd name="T28" fmla="*/ 371 w 1114"/>
                <a:gd name="T29" fmla="*/ 1580 h 1725"/>
                <a:gd name="T30" fmla="*/ 400 w 1114"/>
                <a:gd name="T31" fmla="*/ 1593 h 1725"/>
                <a:gd name="T32" fmla="*/ 533 w 1114"/>
                <a:gd name="T33" fmla="*/ 1279 h 1725"/>
                <a:gd name="T34" fmla="*/ 459 w 1114"/>
                <a:gd name="T35" fmla="*/ 1209 h 1725"/>
                <a:gd name="T36" fmla="*/ 272 w 1114"/>
                <a:gd name="T37" fmla="*/ 1164 h 1725"/>
                <a:gd name="T38" fmla="*/ 126 w 1114"/>
                <a:gd name="T39" fmla="*/ 1119 h 1725"/>
                <a:gd name="T40" fmla="*/ 118 w 1114"/>
                <a:gd name="T41" fmla="*/ 1106 h 1725"/>
                <a:gd name="T42" fmla="*/ 126 w 1114"/>
                <a:gd name="T43" fmla="*/ 1093 h 1725"/>
                <a:gd name="T44" fmla="*/ 234 w 1114"/>
                <a:gd name="T45" fmla="*/ 1069 h 1725"/>
                <a:gd name="T46" fmla="*/ 216 w 1114"/>
                <a:gd name="T47" fmla="*/ 947 h 1725"/>
                <a:gd name="T48" fmla="*/ 115 w 1114"/>
                <a:gd name="T49" fmla="*/ 967 h 1725"/>
                <a:gd name="T50" fmla="*/ 32 w 1114"/>
                <a:gd name="T51" fmla="*/ 1019 h 1725"/>
                <a:gd name="T52" fmla="*/ 2 w 1114"/>
                <a:gd name="T53" fmla="*/ 1117 h 1725"/>
                <a:gd name="T54" fmla="*/ 44 w 1114"/>
                <a:gd name="T55" fmla="*/ 1201 h 1725"/>
                <a:gd name="T56" fmla="*/ 184 w 1114"/>
                <a:gd name="T57" fmla="*/ 1263 h 1725"/>
                <a:gd name="T58" fmla="*/ 361 w 1114"/>
                <a:gd name="T59" fmla="*/ 1291 h 1725"/>
                <a:gd name="T60" fmla="*/ 435 w 1114"/>
                <a:gd name="T61" fmla="*/ 1321 h 1725"/>
                <a:gd name="T62" fmla="*/ 436 w 1114"/>
                <a:gd name="T63" fmla="*/ 1324 h 1725"/>
                <a:gd name="T64" fmla="*/ 396 w 1114"/>
                <a:gd name="T65" fmla="*/ 1356 h 1725"/>
                <a:gd name="T66" fmla="*/ 407 w 1114"/>
                <a:gd name="T67" fmla="*/ 1458 h 1725"/>
                <a:gd name="T68" fmla="*/ 474 w 1114"/>
                <a:gd name="T69" fmla="*/ 1429 h 1725"/>
                <a:gd name="T70" fmla="*/ 538 w 1114"/>
                <a:gd name="T71" fmla="*/ 1348 h 1725"/>
                <a:gd name="T72" fmla="*/ 541 w 1114"/>
                <a:gd name="T73" fmla="*/ 1314 h 1725"/>
                <a:gd name="T74" fmla="*/ 1060 w 1114"/>
                <a:gd name="T75" fmla="*/ 254 h 1725"/>
                <a:gd name="T76" fmla="*/ 727 w 1114"/>
                <a:gd name="T77" fmla="*/ 11 h 1725"/>
                <a:gd name="T78" fmla="*/ 332 w 1114"/>
                <a:gd name="T79" fmla="*/ 70 h 1725"/>
                <a:gd name="T80" fmla="*/ 137 w 1114"/>
                <a:gd name="T81" fmla="*/ 133 h 1725"/>
                <a:gd name="T82" fmla="*/ 406 w 1114"/>
                <a:gd name="T83" fmla="*/ 202 h 1725"/>
                <a:gd name="T84" fmla="*/ 870 w 1114"/>
                <a:gd name="T85" fmla="*/ 244 h 1725"/>
                <a:gd name="T86" fmla="*/ 953 w 1114"/>
                <a:gd name="T87" fmla="*/ 620 h 1725"/>
                <a:gd name="T88" fmla="*/ 777 w 1114"/>
                <a:gd name="T89" fmla="*/ 842 h 1725"/>
                <a:gd name="T90" fmla="*/ 455 w 1114"/>
                <a:gd name="T91" fmla="*/ 927 h 1725"/>
                <a:gd name="T92" fmla="*/ 388 w 1114"/>
                <a:gd name="T93" fmla="*/ 1062 h 1725"/>
                <a:gd name="T94" fmla="*/ 593 w 1114"/>
                <a:gd name="T95" fmla="*/ 1041 h 1725"/>
                <a:gd name="T96" fmla="*/ 899 w 1114"/>
                <a:gd name="T97" fmla="*/ 935 h 1725"/>
                <a:gd name="T98" fmla="*/ 1098 w 1114"/>
                <a:gd name="T99" fmla="*/ 654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14" h="1725">
                  <a:moveTo>
                    <a:pt x="457" y="1666"/>
                  </a:moveTo>
                  <a:cubicBezTo>
                    <a:pt x="464" y="1685"/>
                    <a:pt x="468" y="1705"/>
                    <a:pt x="468" y="1725"/>
                  </a:cubicBezTo>
                  <a:cubicBezTo>
                    <a:pt x="462" y="1706"/>
                    <a:pt x="453" y="1688"/>
                    <a:pt x="443" y="1672"/>
                  </a:cubicBezTo>
                  <a:cubicBezTo>
                    <a:pt x="438" y="1664"/>
                    <a:pt x="432" y="1657"/>
                    <a:pt x="426" y="1650"/>
                  </a:cubicBezTo>
                  <a:cubicBezTo>
                    <a:pt x="420" y="1643"/>
                    <a:pt x="413" y="1637"/>
                    <a:pt x="406" y="1632"/>
                  </a:cubicBezTo>
                  <a:cubicBezTo>
                    <a:pt x="399" y="1628"/>
                    <a:pt x="392" y="1624"/>
                    <a:pt x="384" y="1621"/>
                  </a:cubicBezTo>
                  <a:cubicBezTo>
                    <a:pt x="382" y="1620"/>
                    <a:pt x="380" y="1619"/>
                    <a:pt x="379" y="1619"/>
                  </a:cubicBezTo>
                  <a:cubicBezTo>
                    <a:pt x="377" y="1618"/>
                    <a:pt x="375" y="1618"/>
                    <a:pt x="373" y="1617"/>
                  </a:cubicBezTo>
                  <a:cubicBezTo>
                    <a:pt x="369" y="1617"/>
                    <a:pt x="365" y="1616"/>
                    <a:pt x="361" y="1615"/>
                  </a:cubicBezTo>
                  <a:cubicBezTo>
                    <a:pt x="344" y="1614"/>
                    <a:pt x="326" y="1614"/>
                    <a:pt x="306" y="1615"/>
                  </a:cubicBezTo>
                  <a:cubicBezTo>
                    <a:pt x="287" y="1616"/>
                    <a:pt x="268" y="1617"/>
                    <a:pt x="247" y="1618"/>
                  </a:cubicBezTo>
                  <a:cubicBezTo>
                    <a:pt x="227" y="1619"/>
                    <a:pt x="205" y="1619"/>
                    <a:pt x="182" y="1617"/>
                  </a:cubicBezTo>
                  <a:cubicBezTo>
                    <a:pt x="170" y="1615"/>
                    <a:pt x="158" y="1613"/>
                    <a:pt x="145" y="1609"/>
                  </a:cubicBezTo>
                  <a:cubicBezTo>
                    <a:pt x="138" y="1606"/>
                    <a:pt x="131" y="1603"/>
                    <a:pt x="124" y="1599"/>
                  </a:cubicBezTo>
                  <a:cubicBezTo>
                    <a:pt x="116" y="1595"/>
                    <a:pt x="109" y="1590"/>
                    <a:pt x="101" y="1582"/>
                  </a:cubicBezTo>
                  <a:cubicBezTo>
                    <a:pt x="94" y="1575"/>
                    <a:pt x="88" y="1566"/>
                    <a:pt x="83" y="1555"/>
                  </a:cubicBezTo>
                  <a:cubicBezTo>
                    <a:pt x="79" y="1545"/>
                    <a:pt x="77" y="1535"/>
                    <a:pt x="76" y="1525"/>
                  </a:cubicBezTo>
                  <a:cubicBezTo>
                    <a:pt x="76" y="1524"/>
                    <a:pt x="76" y="1523"/>
                    <a:pt x="76" y="1521"/>
                  </a:cubicBezTo>
                  <a:cubicBezTo>
                    <a:pt x="76" y="1520"/>
                    <a:pt x="76" y="1518"/>
                    <a:pt x="76" y="1517"/>
                  </a:cubicBezTo>
                  <a:cubicBezTo>
                    <a:pt x="76" y="1513"/>
                    <a:pt x="76" y="1510"/>
                    <a:pt x="77" y="1506"/>
                  </a:cubicBezTo>
                  <a:cubicBezTo>
                    <a:pt x="78" y="1500"/>
                    <a:pt x="80" y="1493"/>
                    <a:pt x="83" y="1488"/>
                  </a:cubicBezTo>
                  <a:cubicBezTo>
                    <a:pt x="88" y="1476"/>
                    <a:pt x="95" y="1467"/>
                    <a:pt x="101" y="1461"/>
                  </a:cubicBezTo>
                  <a:cubicBezTo>
                    <a:pt x="108" y="1454"/>
                    <a:pt x="114" y="1449"/>
                    <a:pt x="120" y="1445"/>
                  </a:cubicBezTo>
                  <a:cubicBezTo>
                    <a:pt x="126" y="1441"/>
                    <a:pt x="132" y="1437"/>
                    <a:pt x="137" y="1434"/>
                  </a:cubicBezTo>
                  <a:cubicBezTo>
                    <a:pt x="149" y="1428"/>
                    <a:pt x="160" y="1424"/>
                    <a:pt x="170" y="1420"/>
                  </a:cubicBezTo>
                  <a:cubicBezTo>
                    <a:pt x="181" y="1416"/>
                    <a:pt x="191" y="1413"/>
                    <a:pt x="201" y="1410"/>
                  </a:cubicBezTo>
                  <a:cubicBezTo>
                    <a:pt x="211" y="1407"/>
                    <a:pt x="221" y="1405"/>
                    <a:pt x="231" y="1402"/>
                  </a:cubicBezTo>
                  <a:cubicBezTo>
                    <a:pt x="240" y="1400"/>
                    <a:pt x="248" y="1398"/>
                    <a:pt x="256" y="1396"/>
                  </a:cubicBezTo>
                  <a:cubicBezTo>
                    <a:pt x="256" y="1486"/>
                    <a:pt x="256" y="1486"/>
                    <a:pt x="256" y="1486"/>
                  </a:cubicBezTo>
                  <a:cubicBezTo>
                    <a:pt x="256" y="1486"/>
                    <a:pt x="256" y="1486"/>
                    <a:pt x="255" y="1486"/>
                  </a:cubicBezTo>
                  <a:cubicBezTo>
                    <a:pt x="246" y="1488"/>
                    <a:pt x="236" y="1489"/>
                    <a:pt x="227" y="1491"/>
                  </a:cubicBezTo>
                  <a:cubicBezTo>
                    <a:pt x="218" y="1493"/>
                    <a:pt x="208" y="1495"/>
                    <a:pt x="199" y="1497"/>
                  </a:cubicBezTo>
                  <a:cubicBezTo>
                    <a:pt x="191" y="1499"/>
                    <a:pt x="182" y="1502"/>
                    <a:pt x="174" y="1505"/>
                  </a:cubicBezTo>
                  <a:cubicBezTo>
                    <a:pt x="167" y="1508"/>
                    <a:pt x="160" y="1511"/>
                    <a:pt x="155" y="1514"/>
                  </a:cubicBezTo>
                  <a:cubicBezTo>
                    <a:pt x="153" y="1516"/>
                    <a:pt x="152" y="1517"/>
                    <a:pt x="151" y="1518"/>
                  </a:cubicBezTo>
                  <a:cubicBezTo>
                    <a:pt x="151" y="1519"/>
                    <a:pt x="150" y="1519"/>
                    <a:pt x="150" y="1519"/>
                  </a:cubicBezTo>
                  <a:cubicBezTo>
                    <a:pt x="150" y="1519"/>
                    <a:pt x="150" y="1519"/>
                    <a:pt x="150" y="1520"/>
                  </a:cubicBezTo>
                  <a:cubicBezTo>
                    <a:pt x="149" y="1520"/>
                    <a:pt x="149" y="1520"/>
                    <a:pt x="149" y="1520"/>
                  </a:cubicBezTo>
                  <a:cubicBezTo>
                    <a:pt x="149" y="1520"/>
                    <a:pt x="149" y="1521"/>
                    <a:pt x="149" y="1521"/>
                  </a:cubicBezTo>
                  <a:cubicBezTo>
                    <a:pt x="149" y="1526"/>
                    <a:pt x="150" y="1530"/>
                    <a:pt x="153" y="1534"/>
                  </a:cubicBezTo>
                  <a:cubicBezTo>
                    <a:pt x="156" y="1538"/>
                    <a:pt x="162" y="1542"/>
                    <a:pt x="169" y="1546"/>
                  </a:cubicBezTo>
                  <a:cubicBezTo>
                    <a:pt x="176" y="1549"/>
                    <a:pt x="185" y="1552"/>
                    <a:pt x="194" y="1554"/>
                  </a:cubicBezTo>
                  <a:cubicBezTo>
                    <a:pt x="212" y="1558"/>
                    <a:pt x="231" y="1561"/>
                    <a:pt x="250" y="1563"/>
                  </a:cubicBezTo>
                  <a:cubicBezTo>
                    <a:pt x="270" y="1565"/>
                    <a:pt x="290" y="1566"/>
                    <a:pt x="310" y="1568"/>
                  </a:cubicBezTo>
                  <a:cubicBezTo>
                    <a:pt x="330" y="1571"/>
                    <a:pt x="350" y="1573"/>
                    <a:pt x="371" y="1580"/>
                  </a:cubicBezTo>
                  <a:cubicBezTo>
                    <a:pt x="376" y="1581"/>
                    <a:pt x="381" y="1583"/>
                    <a:pt x="386" y="1585"/>
                  </a:cubicBezTo>
                  <a:cubicBezTo>
                    <a:pt x="388" y="1586"/>
                    <a:pt x="391" y="1587"/>
                    <a:pt x="393" y="1589"/>
                  </a:cubicBezTo>
                  <a:cubicBezTo>
                    <a:pt x="396" y="1590"/>
                    <a:pt x="398" y="1591"/>
                    <a:pt x="400" y="1593"/>
                  </a:cubicBezTo>
                  <a:cubicBezTo>
                    <a:pt x="409" y="1599"/>
                    <a:pt x="417" y="1605"/>
                    <a:pt x="425" y="1613"/>
                  </a:cubicBezTo>
                  <a:cubicBezTo>
                    <a:pt x="439" y="1629"/>
                    <a:pt x="450" y="1647"/>
                    <a:pt x="457" y="1666"/>
                  </a:cubicBezTo>
                  <a:close/>
                  <a:moveTo>
                    <a:pt x="533" y="1279"/>
                  </a:moveTo>
                  <a:cubicBezTo>
                    <a:pt x="528" y="1268"/>
                    <a:pt x="522" y="1259"/>
                    <a:pt x="516" y="1251"/>
                  </a:cubicBezTo>
                  <a:cubicBezTo>
                    <a:pt x="509" y="1243"/>
                    <a:pt x="502" y="1237"/>
                    <a:pt x="496" y="1231"/>
                  </a:cubicBezTo>
                  <a:cubicBezTo>
                    <a:pt x="483" y="1221"/>
                    <a:pt x="470" y="1214"/>
                    <a:pt x="459" y="1209"/>
                  </a:cubicBezTo>
                  <a:cubicBezTo>
                    <a:pt x="435" y="1197"/>
                    <a:pt x="414" y="1191"/>
                    <a:pt x="392" y="1186"/>
                  </a:cubicBezTo>
                  <a:cubicBezTo>
                    <a:pt x="371" y="1181"/>
                    <a:pt x="351" y="1177"/>
                    <a:pt x="331" y="1173"/>
                  </a:cubicBezTo>
                  <a:cubicBezTo>
                    <a:pt x="272" y="1164"/>
                    <a:pt x="272" y="1164"/>
                    <a:pt x="272" y="1164"/>
                  </a:cubicBezTo>
                  <a:cubicBezTo>
                    <a:pt x="253" y="1161"/>
                    <a:pt x="234" y="1158"/>
                    <a:pt x="215" y="1154"/>
                  </a:cubicBezTo>
                  <a:cubicBezTo>
                    <a:pt x="197" y="1150"/>
                    <a:pt x="179" y="1145"/>
                    <a:pt x="164" y="1139"/>
                  </a:cubicBezTo>
                  <a:cubicBezTo>
                    <a:pt x="148" y="1134"/>
                    <a:pt x="133" y="1126"/>
                    <a:pt x="126" y="1119"/>
                  </a:cubicBezTo>
                  <a:cubicBezTo>
                    <a:pt x="124" y="1117"/>
                    <a:pt x="122" y="1116"/>
                    <a:pt x="121" y="1114"/>
                  </a:cubicBezTo>
                  <a:cubicBezTo>
                    <a:pt x="120" y="1113"/>
                    <a:pt x="119" y="1111"/>
                    <a:pt x="119" y="1110"/>
                  </a:cubicBezTo>
                  <a:cubicBezTo>
                    <a:pt x="118" y="1109"/>
                    <a:pt x="118" y="1108"/>
                    <a:pt x="118" y="1106"/>
                  </a:cubicBezTo>
                  <a:cubicBezTo>
                    <a:pt x="118" y="1105"/>
                    <a:pt x="118" y="1103"/>
                    <a:pt x="118" y="1102"/>
                  </a:cubicBezTo>
                  <a:cubicBezTo>
                    <a:pt x="119" y="1100"/>
                    <a:pt x="119" y="1099"/>
                    <a:pt x="121" y="1097"/>
                  </a:cubicBezTo>
                  <a:cubicBezTo>
                    <a:pt x="122" y="1095"/>
                    <a:pt x="124" y="1094"/>
                    <a:pt x="126" y="1093"/>
                  </a:cubicBezTo>
                  <a:cubicBezTo>
                    <a:pt x="128" y="1091"/>
                    <a:pt x="131" y="1090"/>
                    <a:pt x="134" y="1088"/>
                  </a:cubicBezTo>
                  <a:cubicBezTo>
                    <a:pt x="146" y="1083"/>
                    <a:pt x="162" y="1078"/>
                    <a:pt x="179" y="1075"/>
                  </a:cubicBezTo>
                  <a:cubicBezTo>
                    <a:pt x="197" y="1072"/>
                    <a:pt x="215" y="1070"/>
                    <a:pt x="234" y="1069"/>
                  </a:cubicBezTo>
                  <a:cubicBezTo>
                    <a:pt x="242" y="1068"/>
                    <a:pt x="249" y="1068"/>
                    <a:pt x="256" y="1067"/>
                  </a:cubicBezTo>
                  <a:cubicBezTo>
                    <a:pt x="256" y="943"/>
                    <a:pt x="256" y="943"/>
                    <a:pt x="256" y="943"/>
                  </a:cubicBezTo>
                  <a:cubicBezTo>
                    <a:pt x="243" y="944"/>
                    <a:pt x="229" y="946"/>
                    <a:pt x="216" y="947"/>
                  </a:cubicBezTo>
                  <a:cubicBezTo>
                    <a:pt x="195" y="949"/>
                    <a:pt x="173" y="953"/>
                    <a:pt x="150" y="958"/>
                  </a:cubicBezTo>
                  <a:cubicBezTo>
                    <a:pt x="144" y="959"/>
                    <a:pt x="139" y="960"/>
                    <a:pt x="133" y="962"/>
                  </a:cubicBezTo>
                  <a:cubicBezTo>
                    <a:pt x="127" y="964"/>
                    <a:pt x="121" y="965"/>
                    <a:pt x="115" y="967"/>
                  </a:cubicBezTo>
                  <a:cubicBezTo>
                    <a:pt x="102" y="972"/>
                    <a:pt x="89" y="977"/>
                    <a:pt x="76" y="985"/>
                  </a:cubicBezTo>
                  <a:cubicBezTo>
                    <a:pt x="69" y="988"/>
                    <a:pt x="61" y="993"/>
                    <a:pt x="54" y="999"/>
                  </a:cubicBezTo>
                  <a:cubicBezTo>
                    <a:pt x="47" y="1004"/>
                    <a:pt x="39" y="1011"/>
                    <a:pt x="32" y="1019"/>
                  </a:cubicBezTo>
                  <a:cubicBezTo>
                    <a:pt x="25" y="1028"/>
                    <a:pt x="18" y="1038"/>
                    <a:pt x="13" y="1049"/>
                  </a:cubicBezTo>
                  <a:cubicBezTo>
                    <a:pt x="8" y="1060"/>
                    <a:pt x="4" y="1072"/>
                    <a:pt x="2" y="1083"/>
                  </a:cubicBezTo>
                  <a:cubicBezTo>
                    <a:pt x="1" y="1095"/>
                    <a:pt x="0" y="1106"/>
                    <a:pt x="2" y="1117"/>
                  </a:cubicBezTo>
                  <a:cubicBezTo>
                    <a:pt x="3" y="1128"/>
                    <a:pt x="5" y="1140"/>
                    <a:pt x="10" y="1150"/>
                  </a:cubicBezTo>
                  <a:cubicBezTo>
                    <a:pt x="14" y="1161"/>
                    <a:pt x="19" y="1171"/>
                    <a:pt x="25" y="1179"/>
                  </a:cubicBezTo>
                  <a:cubicBezTo>
                    <a:pt x="31" y="1188"/>
                    <a:pt x="38" y="1195"/>
                    <a:pt x="44" y="1201"/>
                  </a:cubicBezTo>
                  <a:cubicBezTo>
                    <a:pt x="57" y="1213"/>
                    <a:pt x="70" y="1222"/>
                    <a:pt x="82" y="1228"/>
                  </a:cubicBezTo>
                  <a:cubicBezTo>
                    <a:pt x="95" y="1235"/>
                    <a:pt x="107" y="1240"/>
                    <a:pt x="118" y="1244"/>
                  </a:cubicBezTo>
                  <a:cubicBezTo>
                    <a:pt x="141" y="1253"/>
                    <a:pt x="163" y="1258"/>
                    <a:pt x="184" y="1263"/>
                  </a:cubicBezTo>
                  <a:cubicBezTo>
                    <a:pt x="205" y="1267"/>
                    <a:pt x="225" y="1270"/>
                    <a:pt x="245" y="1273"/>
                  </a:cubicBezTo>
                  <a:cubicBezTo>
                    <a:pt x="304" y="1282"/>
                    <a:pt x="304" y="1282"/>
                    <a:pt x="304" y="1282"/>
                  </a:cubicBezTo>
                  <a:cubicBezTo>
                    <a:pt x="324" y="1285"/>
                    <a:pt x="343" y="1288"/>
                    <a:pt x="361" y="1291"/>
                  </a:cubicBezTo>
                  <a:cubicBezTo>
                    <a:pt x="379" y="1295"/>
                    <a:pt x="396" y="1300"/>
                    <a:pt x="410" y="1306"/>
                  </a:cubicBezTo>
                  <a:cubicBezTo>
                    <a:pt x="418" y="1309"/>
                    <a:pt x="424" y="1312"/>
                    <a:pt x="428" y="1315"/>
                  </a:cubicBezTo>
                  <a:cubicBezTo>
                    <a:pt x="433" y="1318"/>
                    <a:pt x="434" y="1320"/>
                    <a:pt x="435" y="1321"/>
                  </a:cubicBezTo>
                  <a:cubicBezTo>
                    <a:pt x="435" y="1321"/>
                    <a:pt x="435" y="1321"/>
                    <a:pt x="436" y="1321"/>
                  </a:cubicBezTo>
                  <a:cubicBezTo>
                    <a:pt x="436" y="1321"/>
                    <a:pt x="436" y="1322"/>
                    <a:pt x="436" y="1322"/>
                  </a:cubicBezTo>
                  <a:cubicBezTo>
                    <a:pt x="436" y="1323"/>
                    <a:pt x="436" y="1323"/>
                    <a:pt x="436" y="1324"/>
                  </a:cubicBezTo>
                  <a:cubicBezTo>
                    <a:pt x="435" y="1326"/>
                    <a:pt x="434" y="1329"/>
                    <a:pt x="431" y="1332"/>
                  </a:cubicBezTo>
                  <a:cubicBezTo>
                    <a:pt x="428" y="1336"/>
                    <a:pt x="423" y="1341"/>
                    <a:pt x="417" y="1345"/>
                  </a:cubicBezTo>
                  <a:cubicBezTo>
                    <a:pt x="411" y="1349"/>
                    <a:pt x="404" y="1352"/>
                    <a:pt x="396" y="1356"/>
                  </a:cubicBezTo>
                  <a:cubicBezTo>
                    <a:pt x="394" y="1357"/>
                    <a:pt x="391" y="1358"/>
                    <a:pt x="388" y="1359"/>
                  </a:cubicBezTo>
                  <a:cubicBezTo>
                    <a:pt x="388" y="1463"/>
                    <a:pt x="388" y="1463"/>
                    <a:pt x="388" y="1463"/>
                  </a:cubicBezTo>
                  <a:cubicBezTo>
                    <a:pt x="395" y="1461"/>
                    <a:pt x="401" y="1459"/>
                    <a:pt x="407" y="1458"/>
                  </a:cubicBezTo>
                  <a:cubicBezTo>
                    <a:pt x="412" y="1456"/>
                    <a:pt x="418" y="1454"/>
                    <a:pt x="423" y="1452"/>
                  </a:cubicBezTo>
                  <a:cubicBezTo>
                    <a:pt x="429" y="1451"/>
                    <a:pt x="434" y="1448"/>
                    <a:pt x="440" y="1446"/>
                  </a:cubicBezTo>
                  <a:cubicBezTo>
                    <a:pt x="451" y="1442"/>
                    <a:pt x="462" y="1436"/>
                    <a:pt x="474" y="1429"/>
                  </a:cubicBezTo>
                  <a:cubicBezTo>
                    <a:pt x="486" y="1422"/>
                    <a:pt x="498" y="1413"/>
                    <a:pt x="510" y="1400"/>
                  </a:cubicBezTo>
                  <a:cubicBezTo>
                    <a:pt x="515" y="1394"/>
                    <a:pt x="521" y="1386"/>
                    <a:pt x="526" y="1377"/>
                  </a:cubicBezTo>
                  <a:cubicBezTo>
                    <a:pt x="531" y="1368"/>
                    <a:pt x="535" y="1358"/>
                    <a:pt x="538" y="1348"/>
                  </a:cubicBezTo>
                  <a:cubicBezTo>
                    <a:pt x="539" y="1342"/>
                    <a:pt x="540" y="1337"/>
                    <a:pt x="541" y="1331"/>
                  </a:cubicBezTo>
                  <a:cubicBezTo>
                    <a:pt x="541" y="1329"/>
                    <a:pt x="541" y="1326"/>
                    <a:pt x="541" y="1323"/>
                  </a:cubicBezTo>
                  <a:cubicBezTo>
                    <a:pt x="541" y="1320"/>
                    <a:pt x="541" y="1317"/>
                    <a:pt x="541" y="1314"/>
                  </a:cubicBezTo>
                  <a:cubicBezTo>
                    <a:pt x="540" y="1303"/>
                    <a:pt x="537" y="1290"/>
                    <a:pt x="533" y="1279"/>
                  </a:cubicBezTo>
                  <a:close/>
                  <a:moveTo>
                    <a:pt x="1103" y="386"/>
                  </a:moveTo>
                  <a:cubicBezTo>
                    <a:pt x="1094" y="341"/>
                    <a:pt x="1081" y="297"/>
                    <a:pt x="1060" y="254"/>
                  </a:cubicBezTo>
                  <a:cubicBezTo>
                    <a:pt x="1039" y="211"/>
                    <a:pt x="1011" y="171"/>
                    <a:pt x="977" y="137"/>
                  </a:cubicBezTo>
                  <a:cubicBezTo>
                    <a:pt x="943" y="102"/>
                    <a:pt x="902" y="74"/>
                    <a:pt x="860" y="54"/>
                  </a:cubicBezTo>
                  <a:cubicBezTo>
                    <a:pt x="817" y="33"/>
                    <a:pt x="772" y="19"/>
                    <a:pt x="727" y="11"/>
                  </a:cubicBezTo>
                  <a:cubicBezTo>
                    <a:pt x="682" y="3"/>
                    <a:pt x="636" y="0"/>
                    <a:pt x="591" y="2"/>
                  </a:cubicBezTo>
                  <a:cubicBezTo>
                    <a:pt x="546" y="4"/>
                    <a:pt x="502" y="11"/>
                    <a:pt x="459" y="22"/>
                  </a:cubicBezTo>
                  <a:cubicBezTo>
                    <a:pt x="415" y="34"/>
                    <a:pt x="373" y="49"/>
                    <a:pt x="332" y="70"/>
                  </a:cubicBezTo>
                  <a:cubicBezTo>
                    <a:pt x="320" y="77"/>
                    <a:pt x="308" y="84"/>
                    <a:pt x="296" y="91"/>
                  </a:cubicBezTo>
                  <a:cubicBezTo>
                    <a:pt x="262" y="84"/>
                    <a:pt x="234" y="84"/>
                    <a:pt x="234" y="84"/>
                  </a:cubicBezTo>
                  <a:cubicBezTo>
                    <a:pt x="234" y="84"/>
                    <a:pt x="164" y="91"/>
                    <a:pt x="137" y="133"/>
                  </a:cubicBezTo>
                  <a:cubicBezTo>
                    <a:pt x="109" y="175"/>
                    <a:pt x="60" y="300"/>
                    <a:pt x="84" y="395"/>
                  </a:cubicBezTo>
                  <a:cubicBezTo>
                    <a:pt x="109" y="489"/>
                    <a:pt x="334" y="323"/>
                    <a:pt x="348" y="310"/>
                  </a:cubicBezTo>
                  <a:cubicBezTo>
                    <a:pt x="360" y="299"/>
                    <a:pt x="400" y="266"/>
                    <a:pt x="406" y="202"/>
                  </a:cubicBezTo>
                  <a:cubicBezTo>
                    <a:pt x="465" y="173"/>
                    <a:pt x="532" y="157"/>
                    <a:pt x="598" y="154"/>
                  </a:cubicBezTo>
                  <a:cubicBezTo>
                    <a:pt x="667" y="151"/>
                    <a:pt x="735" y="162"/>
                    <a:pt x="793" y="190"/>
                  </a:cubicBezTo>
                  <a:cubicBezTo>
                    <a:pt x="822" y="204"/>
                    <a:pt x="848" y="222"/>
                    <a:pt x="870" y="244"/>
                  </a:cubicBezTo>
                  <a:cubicBezTo>
                    <a:pt x="892" y="266"/>
                    <a:pt x="910" y="292"/>
                    <a:pt x="924" y="320"/>
                  </a:cubicBezTo>
                  <a:cubicBezTo>
                    <a:pt x="952" y="378"/>
                    <a:pt x="964" y="447"/>
                    <a:pt x="963" y="518"/>
                  </a:cubicBezTo>
                  <a:cubicBezTo>
                    <a:pt x="963" y="553"/>
                    <a:pt x="960" y="587"/>
                    <a:pt x="953" y="620"/>
                  </a:cubicBezTo>
                  <a:cubicBezTo>
                    <a:pt x="946" y="652"/>
                    <a:pt x="935" y="683"/>
                    <a:pt x="919" y="710"/>
                  </a:cubicBezTo>
                  <a:cubicBezTo>
                    <a:pt x="904" y="738"/>
                    <a:pt x="884" y="763"/>
                    <a:pt x="860" y="785"/>
                  </a:cubicBezTo>
                  <a:cubicBezTo>
                    <a:pt x="836" y="807"/>
                    <a:pt x="807" y="826"/>
                    <a:pt x="777" y="842"/>
                  </a:cubicBezTo>
                  <a:cubicBezTo>
                    <a:pt x="746" y="859"/>
                    <a:pt x="712" y="872"/>
                    <a:pt x="677" y="883"/>
                  </a:cubicBezTo>
                  <a:cubicBezTo>
                    <a:pt x="642" y="894"/>
                    <a:pt x="606" y="902"/>
                    <a:pt x="569" y="910"/>
                  </a:cubicBezTo>
                  <a:cubicBezTo>
                    <a:pt x="531" y="917"/>
                    <a:pt x="494" y="922"/>
                    <a:pt x="455" y="927"/>
                  </a:cubicBezTo>
                  <a:cubicBezTo>
                    <a:pt x="436" y="930"/>
                    <a:pt x="416" y="931"/>
                    <a:pt x="397" y="933"/>
                  </a:cubicBezTo>
                  <a:cubicBezTo>
                    <a:pt x="394" y="934"/>
                    <a:pt x="391" y="934"/>
                    <a:pt x="388" y="934"/>
                  </a:cubicBezTo>
                  <a:cubicBezTo>
                    <a:pt x="388" y="1062"/>
                    <a:pt x="388" y="1062"/>
                    <a:pt x="388" y="1062"/>
                  </a:cubicBezTo>
                  <a:cubicBezTo>
                    <a:pt x="396" y="1062"/>
                    <a:pt x="403" y="1062"/>
                    <a:pt x="411" y="1061"/>
                  </a:cubicBezTo>
                  <a:cubicBezTo>
                    <a:pt x="431" y="1060"/>
                    <a:pt x="451" y="1059"/>
                    <a:pt x="471" y="1057"/>
                  </a:cubicBezTo>
                  <a:cubicBezTo>
                    <a:pt x="511" y="1053"/>
                    <a:pt x="552" y="1048"/>
                    <a:pt x="593" y="1041"/>
                  </a:cubicBezTo>
                  <a:cubicBezTo>
                    <a:pt x="634" y="1034"/>
                    <a:pt x="675" y="1026"/>
                    <a:pt x="717" y="1014"/>
                  </a:cubicBezTo>
                  <a:cubicBezTo>
                    <a:pt x="758" y="1003"/>
                    <a:pt x="799" y="988"/>
                    <a:pt x="839" y="968"/>
                  </a:cubicBezTo>
                  <a:cubicBezTo>
                    <a:pt x="860" y="959"/>
                    <a:pt x="880" y="948"/>
                    <a:pt x="899" y="935"/>
                  </a:cubicBezTo>
                  <a:cubicBezTo>
                    <a:pt x="918" y="923"/>
                    <a:pt x="937" y="909"/>
                    <a:pt x="955" y="893"/>
                  </a:cubicBezTo>
                  <a:cubicBezTo>
                    <a:pt x="990" y="863"/>
                    <a:pt x="1021" y="825"/>
                    <a:pt x="1046" y="784"/>
                  </a:cubicBezTo>
                  <a:cubicBezTo>
                    <a:pt x="1070" y="743"/>
                    <a:pt x="1087" y="698"/>
                    <a:pt x="1098" y="654"/>
                  </a:cubicBezTo>
                  <a:cubicBezTo>
                    <a:pt x="1108" y="609"/>
                    <a:pt x="1113" y="563"/>
                    <a:pt x="1114" y="519"/>
                  </a:cubicBezTo>
                  <a:cubicBezTo>
                    <a:pt x="1114" y="475"/>
                    <a:pt x="1111" y="431"/>
                    <a:pt x="1103" y="386"/>
                  </a:cubicBezTo>
                  <a:close/>
                </a:path>
              </a:pathLst>
            </a:custGeom>
            <a:solidFill>
              <a:srgbClr val="98A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Oval 18">
              <a:extLst>
                <a:ext uri="{FF2B5EF4-FFF2-40B4-BE49-F238E27FC236}">
                  <a16:creationId xmlns:a16="http://schemas.microsoft.com/office/drawing/2014/main" xmlns="" id="{DA6077B8-5DF9-435C-A565-8256303DA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2" y="863"/>
              <a:ext cx="63" cy="6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7" name="bcgIcons_DepartmentStore">
            <a:extLst>
              <a:ext uri="{FF2B5EF4-FFF2-40B4-BE49-F238E27FC236}">
                <a16:creationId xmlns:a16="http://schemas.microsoft.com/office/drawing/2014/main" xmlns="" id="{93DFE3CF-7BBE-46D5-A105-57FA6446C9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50510" y="1161435"/>
            <a:ext cx="1178159" cy="1179251"/>
            <a:chOff x="1682" y="0"/>
            <a:chExt cx="4316" cy="4320"/>
          </a:xfrm>
        </p:grpSpPr>
        <p:sp>
          <p:nvSpPr>
            <p:cNvPr id="18" name="AutoShape 8">
              <a:extLst>
                <a:ext uri="{FF2B5EF4-FFF2-40B4-BE49-F238E27FC236}">
                  <a16:creationId xmlns:a16="http://schemas.microsoft.com/office/drawing/2014/main" xmlns="" id="{E6C6D4C2-F1FF-4E5B-A68E-25A6D9B2304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xmlns="" id="{F56C5781-C611-4364-AD7C-0DA37F05F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2" y="2079"/>
              <a:ext cx="2495" cy="1740"/>
            </a:xfrm>
            <a:custGeom>
              <a:avLst/>
              <a:gdLst>
                <a:gd name="T0" fmla="*/ 378 w 1332"/>
                <a:gd name="T1" fmla="*/ 927 h 928"/>
                <a:gd name="T2" fmla="*/ 254 w 1332"/>
                <a:gd name="T3" fmla="*/ 927 h 928"/>
                <a:gd name="T4" fmla="*/ 184 w 1332"/>
                <a:gd name="T5" fmla="*/ 869 h 928"/>
                <a:gd name="T6" fmla="*/ 144 w 1332"/>
                <a:gd name="T7" fmla="*/ 763 h 928"/>
                <a:gd name="T8" fmla="*/ 94 w 1332"/>
                <a:gd name="T9" fmla="*/ 686 h 928"/>
                <a:gd name="T10" fmla="*/ 78 w 1332"/>
                <a:gd name="T11" fmla="*/ 678 h 928"/>
                <a:gd name="T12" fmla="*/ 68 w 1332"/>
                <a:gd name="T13" fmla="*/ 694 h 928"/>
                <a:gd name="T14" fmla="*/ 68 w 1332"/>
                <a:gd name="T15" fmla="*/ 904 h 928"/>
                <a:gd name="T16" fmla="*/ 68 w 1332"/>
                <a:gd name="T17" fmla="*/ 915 h 928"/>
                <a:gd name="T18" fmla="*/ 58 w 1332"/>
                <a:gd name="T19" fmla="*/ 927 h 928"/>
                <a:gd name="T20" fmla="*/ 45 w 1332"/>
                <a:gd name="T21" fmla="*/ 917 h 928"/>
                <a:gd name="T22" fmla="*/ 43 w 1332"/>
                <a:gd name="T23" fmla="*/ 896 h 928"/>
                <a:gd name="T24" fmla="*/ 32 w 1332"/>
                <a:gd name="T25" fmla="*/ 758 h 928"/>
                <a:gd name="T26" fmla="*/ 9 w 1332"/>
                <a:gd name="T27" fmla="*/ 609 h 928"/>
                <a:gd name="T28" fmla="*/ 1 w 1332"/>
                <a:gd name="T29" fmla="*/ 552 h 928"/>
                <a:gd name="T30" fmla="*/ 56 w 1332"/>
                <a:gd name="T31" fmla="*/ 448 h 928"/>
                <a:gd name="T32" fmla="*/ 102 w 1332"/>
                <a:gd name="T33" fmla="*/ 415 h 928"/>
                <a:gd name="T34" fmla="*/ 121 w 1332"/>
                <a:gd name="T35" fmla="*/ 419 h 928"/>
                <a:gd name="T36" fmla="*/ 206 w 1332"/>
                <a:gd name="T37" fmla="*/ 576 h 928"/>
                <a:gd name="T38" fmla="*/ 261 w 1332"/>
                <a:gd name="T39" fmla="*/ 720 h 928"/>
                <a:gd name="T40" fmla="*/ 307 w 1332"/>
                <a:gd name="T41" fmla="*/ 794 h 928"/>
                <a:gd name="T42" fmla="*/ 386 w 1332"/>
                <a:gd name="T43" fmla="*/ 825 h 928"/>
                <a:gd name="T44" fmla="*/ 396 w 1332"/>
                <a:gd name="T45" fmla="*/ 828 h 928"/>
                <a:gd name="T46" fmla="*/ 515 w 1332"/>
                <a:gd name="T47" fmla="*/ 907 h 928"/>
                <a:gd name="T48" fmla="*/ 522 w 1332"/>
                <a:gd name="T49" fmla="*/ 920 h 928"/>
                <a:gd name="T50" fmla="*/ 510 w 1332"/>
                <a:gd name="T51" fmla="*/ 927 h 928"/>
                <a:gd name="T52" fmla="*/ 378 w 1332"/>
                <a:gd name="T53" fmla="*/ 927 h 928"/>
                <a:gd name="T54" fmla="*/ 1332 w 1332"/>
                <a:gd name="T55" fmla="*/ 481 h 928"/>
                <a:gd name="T56" fmla="*/ 1327 w 1332"/>
                <a:gd name="T57" fmla="*/ 382 h 928"/>
                <a:gd name="T58" fmla="*/ 1319 w 1332"/>
                <a:gd name="T59" fmla="*/ 214 h 928"/>
                <a:gd name="T60" fmla="*/ 1311 w 1332"/>
                <a:gd name="T61" fmla="*/ 54 h 928"/>
                <a:gd name="T62" fmla="*/ 1256 w 1332"/>
                <a:gd name="T63" fmla="*/ 1 h 928"/>
                <a:gd name="T64" fmla="*/ 1140 w 1332"/>
                <a:gd name="T65" fmla="*/ 2 h 928"/>
                <a:gd name="T66" fmla="*/ 1164 w 1332"/>
                <a:gd name="T67" fmla="*/ 97 h 928"/>
                <a:gd name="T68" fmla="*/ 1069 w 1332"/>
                <a:gd name="T69" fmla="*/ 198 h 928"/>
                <a:gd name="T70" fmla="*/ 967 w 1332"/>
                <a:gd name="T71" fmla="*/ 101 h 928"/>
                <a:gd name="T72" fmla="*/ 999 w 1332"/>
                <a:gd name="T73" fmla="*/ 2 h 928"/>
                <a:gd name="T74" fmla="*/ 849 w 1332"/>
                <a:gd name="T75" fmla="*/ 2 h 928"/>
                <a:gd name="T76" fmla="*/ 874 w 1332"/>
                <a:gd name="T77" fmla="*/ 97 h 928"/>
                <a:gd name="T78" fmla="*/ 779 w 1332"/>
                <a:gd name="T79" fmla="*/ 198 h 928"/>
                <a:gd name="T80" fmla="*/ 677 w 1332"/>
                <a:gd name="T81" fmla="*/ 101 h 928"/>
                <a:gd name="T82" fmla="*/ 709 w 1332"/>
                <a:gd name="T83" fmla="*/ 2 h 928"/>
                <a:gd name="T84" fmla="*/ 583 w 1332"/>
                <a:gd name="T85" fmla="*/ 2 h 928"/>
                <a:gd name="T86" fmla="*/ 536 w 1332"/>
                <a:gd name="T87" fmla="*/ 44 h 928"/>
                <a:gd name="T88" fmla="*/ 533 w 1332"/>
                <a:gd name="T89" fmla="*/ 88 h 928"/>
                <a:gd name="T90" fmla="*/ 528 w 1332"/>
                <a:gd name="T91" fmla="*/ 195 h 928"/>
                <a:gd name="T92" fmla="*/ 522 w 1332"/>
                <a:gd name="T93" fmla="*/ 335 h 928"/>
                <a:gd name="T94" fmla="*/ 516 w 1332"/>
                <a:gd name="T95" fmla="*/ 446 h 928"/>
                <a:gd name="T96" fmla="*/ 516 w 1332"/>
                <a:gd name="T97" fmla="*/ 505 h 928"/>
                <a:gd name="T98" fmla="*/ 554 w 1332"/>
                <a:gd name="T99" fmla="*/ 552 h 928"/>
                <a:gd name="T100" fmla="*/ 583 w 1332"/>
                <a:gd name="T101" fmla="*/ 556 h 928"/>
                <a:gd name="T102" fmla="*/ 1262 w 1332"/>
                <a:gd name="T103" fmla="*/ 556 h 928"/>
                <a:gd name="T104" fmla="*/ 1284 w 1332"/>
                <a:gd name="T105" fmla="*/ 554 h 928"/>
                <a:gd name="T106" fmla="*/ 1329 w 1332"/>
                <a:gd name="T107" fmla="*/ 513 h 928"/>
                <a:gd name="T108" fmla="*/ 1332 w 1332"/>
                <a:gd name="T109" fmla="*/ 481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2" h="928">
                  <a:moveTo>
                    <a:pt x="378" y="927"/>
                  </a:moveTo>
                  <a:cubicBezTo>
                    <a:pt x="336" y="927"/>
                    <a:pt x="295" y="926"/>
                    <a:pt x="254" y="927"/>
                  </a:cubicBezTo>
                  <a:cubicBezTo>
                    <a:pt x="219" y="928"/>
                    <a:pt x="188" y="904"/>
                    <a:pt x="184" y="869"/>
                  </a:cubicBezTo>
                  <a:cubicBezTo>
                    <a:pt x="179" y="830"/>
                    <a:pt x="164" y="796"/>
                    <a:pt x="144" y="763"/>
                  </a:cubicBezTo>
                  <a:cubicBezTo>
                    <a:pt x="128" y="737"/>
                    <a:pt x="110" y="712"/>
                    <a:pt x="94" y="686"/>
                  </a:cubicBezTo>
                  <a:cubicBezTo>
                    <a:pt x="90" y="680"/>
                    <a:pt x="86" y="676"/>
                    <a:pt x="78" y="678"/>
                  </a:cubicBezTo>
                  <a:cubicBezTo>
                    <a:pt x="72" y="680"/>
                    <a:pt x="68" y="685"/>
                    <a:pt x="68" y="694"/>
                  </a:cubicBezTo>
                  <a:cubicBezTo>
                    <a:pt x="68" y="764"/>
                    <a:pt x="68" y="834"/>
                    <a:pt x="68" y="904"/>
                  </a:cubicBezTo>
                  <a:cubicBezTo>
                    <a:pt x="68" y="908"/>
                    <a:pt x="68" y="911"/>
                    <a:pt x="68" y="915"/>
                  </a:cubicBezTo>
                  <a:cubicBezTo>
                    <a:pt x="68" y="921"/>
                    <a:pt x="64" y="926"/>
                    <a:pt x="58" y="927"/>
                  </a:cubicBezTo>
                  <a:cubicBezTo>
                    <a:pt x="52" y="928"/>
                    <a:pt x="46" y="923"/>
                    <a:pt x="45" y="917"/>
                  </a:cubicBezTo>
                  <a:cubicBezTo>
                    <a:pt x="44" y="910"/>
                    <a:pt x="44" y="903"/>
                    <a:pt x="43" y="896"/>
                  </a:cubicBezTo>
                  <a:cubicBezTo>
                    <a:pt x="39" y="850"/>
                    <a:pt x="35" y="804"/>
                    <a:pt x="32" y="758"/>
                  </a:cubicBezTo>
                  <a:cubicBezTo>
                    <a:pt x="28" y="708"/>
                    <a:pt x="19" y="659"/>
                    <a:pt x="9" y="609"/>
                  </a:cubicBezTo>
                  <a:cubicBezTo>
                    <a:pt x="5" y="590"/>
                    <a:pt x="0" y="571"/>
                    <a:pt x="1" y="552"/>
                  </a:cubicBezTo>
                  <a:cubicBezTo>
                    <a:pt x="3" y="508"/>
                    <a:pt x="20" y="473"/>
                    <a:pt x="56" y="448"/>
                  </a:cubicBezTo>
                  <a:cubicBezTo>
                    <a:pt x="71" y="437"/>
                    <a:pt x="86" y="426"/>
                    <a:pt x="102" y="415"/>
                  </a:cubicBezTo>
                  <a:cubicBezTo>
                    <a:pt x="111" y="408"/>
                    <a:pt x="116" y="409"/>
                    <a:pt x="121" y="419"/>
                  </a:cubicBezTo>
                  <a:cubicBezTo>
                    <a:pt x="150" y="471"/>
                    <a:pt x="179" y="523"/>
                    <a:pt x="206" y="576"/>
                  </a:cubicBezTo>
                  <a:cubicBezTo>
                    <a:pt x="231" y="622"/>
                    <a:pt x="247" y="671"/>
                    <a:pt x="261" y="720"/>
                  </a:cubicBezTo>
                  <a:cubicBezTo>
                    <a:pt x="269" y="749"/>
                    <a:pt x="283" y="775"/>
                    <a:pt x="307" y="794"/>
                  </a:cubicBezTo>
                  <a:cubicBezTo>
                    <a:pt x="330" y="813"/>
                    <a:pt x="356" y="823"/>
                    <a:pt x="386" y="825"/>
                  </a:cubicBezTo>
                  <a:cubicBezTo>
                    <a:pt x="389" y="825"/>
                    <a:pt x="393" y="826"/>
                    <a:pt x="396" y="828"/>
                  </a:cubicBezTo>
                  <a:cubicBezTo>
                    <a:pt x="436" y="854"/>
                    <a:pt x="476" y="881"/>
                    <a:pt x="515" y="907"/>
                  </a:cubicBezTo>
                  <a:cubicBezTo>
                    <a:pt x="520" y="911"/>
                    <a:pt x="523" y="914"/>
                    <a:pt x="522" y="920"/>
                  </a:cubicBezTo>
                  <a:cubicBezTo>
                    <a:pt x="520" y="926"/>
                    <a:pt x="515" y="927"/>
                    <a:pt x="510" y="927"/>
                  </a:cubicBezTo>
                  <a:cubicBezTo>
                    <a:pt x="466" y="927"/>
                    <a:pt x="422" y="927"/>
                    <a:pt x="378" y="927"/>
                  </a:cubicBezTo>
                  <a:close/>
                  <a:moveTo>
                    <a:pt x="1332" y="481"/>
                  </a:moveTo>
                  <a:cubicBezTo>
                    <a:pt x="1331" y="448"/>
                    <a:pt x="1329" y="415"/>
                    <a:pt x="1327" y="382"/>
                  </a:cubicBezTo>
                  <a:cubicBezTo>
                    <a:pt x="1325" y="326"/>
                    <a:pt x="1322" y="270"/>
                    <a:pt x="1319" y="214"/>
                  </a:cubicBezTo>
                  <a:cubicBezTo>
                    <a:pt x="1316" y="161"/>
                    <a:pt x="1314" y="107"/>
                    <a:pt x="1311" y="54"/>
                  </a:cubicBezTo>
                  <a:cubicBezTo>
                    <a:pt x="1310" y="26"/>
                    <a:pt x="1291" y="0"/>
                    <a:pt x="1256" y="1"/>
                  </a:cubicBezTo>
                  <a:cubicBezTo>
                    <a:pt x="1217" y="3"/>
                    <a:pt x="1178" y="2"/>
                    <a:pt x="1140" y="2"/>
                  </a:cubicBezTo>
                  <a:cubicBezTo>
                    <a:pt x="1164" y="97"/>
                    <a:pt x="1164" y="97"/>
                    <a:pt x="1164" y="97"/>
                  </a:cubicBezTo>
                  <a:cubicBezTo>
                    <a:pt x="1069" y="198"/>
                    <a:pt x="1069" y="198"/>
                    <a:pt x="1069" y="198"/>
                  </a:cubicBezTo>
                  <a:cubicBezTo>
                    <a:pt x="967" y="101"/>
                    <a:pt x="967" y="101"/>
                    <a:pt x="967" y="101"/>
                  </a:cubicBezTo>
                  <a:cubicBezTo>
                    <a:pt x="999" y="2"/>
                    <a:pt x="999" y="2"/>
                    <a:pt x="999" y="2"/>
                  </a:cubicBezTo>
                  <a:cubicBezTo>
                    <a:pt x="949" y="2"/>
                    <a:pt x="899" y="2"/>
                    <a:pt x="849" y="2"/>
                  </a:cubicBezTo>
                  <a:cubicBezTo>
                    <a:pt x="874" y="97"/>
                    <a:pt x="874" y="97"/>
                    <a:pt x="874" y="97"/>
                  </a:cubicBezTo>
                  <a:cubicBezTo>
                    <a:pt x="779" y="198"/>
                    <a:pt x="779" y="198"/>
                    <a:pt x="779" y="198"/>
                  </a:cubicBezTo>
                  <a:cubicBezTo>
                    <a:pt x="677" y="101"/>
                    <a:pt x="677" y="101"/>
                    <a:pt x="677" y="101"/>
                  </a:cubicBezTo>
                  <a:cubicBezTo>
                    <a:pt x="709" y="2"/>
                    <a:pt x="709" y="2"/>
                    <a:pt x="709" y="2"/>
                  </a:cubicBezTo>
                  <a:cubicBezTo>
                    <a:pt x="667" y="2"/>
                    <a:pt x="625" y="2"/>
                    <a:pt x="583" y="2"/>
                  </a:cubicBezTo>
                  <a:cubicBezTo>
                    <a:pt x="557" y="2"/>
                    <a:pt x="540" y="18"/>
                    <a:pt x="536" y="44"/>
                  </a:cubicBezTo>
                  <a:cubicBezTo>
                    <a:pt x="534" y="59"/>
                    <a:pt x="534" y="74"/>
                    <a:pt x="533" y="88"/>
                  </a:cubicBezTo>
                  <a:cubicBezTo>
                    <a:pt x="532" y="124"/>
                    <a:pt x="530" y="159"/>
                    <a:pt x="528" y="195"/>
                  </a:cubicBezTo>
                  <a:cubicBezTo>
                    <a:pt x="526" y="242"/>
                    <a:pt x="524" y="288"/>
                    <a:pt x="522" y="335"/>
                  </a:cubicBezTo>
                  <a:cubicBezTo>
                    <a:pt x="520" y="372"/>
                    <a:pt x="518" y="409"/>
                    <a:pt x="516" y="446"/>
                  </a:cubicBezTo>
                  <a:cubicBezTo>
                    <a:pt x="515" y="466"/>
                    <a:pt x="515" y="486"/>
                    <a:pt x="516" y="505"/>
                  </a:cubicBezTo>
                  <a:cubicBezTo>
                    <a:pt x="518" y="530"/>
                    <a:pt x="533" y="548"/>
                    <a:pt x="554" y="552"/>
                  </a:cubicBezTo>
                  <a:cubicBezTo>
                    <a:pt x="564" y="555"/>
                    <a:pt x="573" y="556"/>
                    <a:pt x="583" y="556"/>
                  </a:cubicBezTo>
                  <a:cubicBezTo>
                    <a:pt x="809" y="556"/>
                    <a:pt x="1036" y="556"/>
                    <a:pt x="1262" y="556"/>
                  </a:cubicBezTo>
                  <a:cubicBezTo>
                    <a:pt x="1269" y="556"/>
                    <a:pt x="1277" y="555"/>
                    <a:pt x="1284" y="554"/>
                  </a:cubicBezTo>
                  <a:cubicBezTo>
                    <a:pt x="1309" y="551"/>
                    <a:pt x="1324" y="537"/>
                    <a:pt x="1329" y="513"/>
                  </a:cubicBezTo>
                  <a:cubicBezTo>
                    <a:pt x="1331" y="502"/>
                    <a:pt x="1332" y="491"/>
                    <a:pt x="1332" y="481"/>
                  </a:cubicBezTo>
                  <a:close/>
                </a:path>
              </a:pathLst>
            </a:custGeom>
            <a:solidFill>
              <a:srgbClr val="595959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xmlns="" id="{556C9656-EE9F-4C4B-A347-EA76031D44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2" y="803"/>
              <a:ext cx="3540" cy="2771"/>
            </a:xfrm>
            <a:custGeom>
              <a:avLst/>
              <a:gdLst>
                <a:gd name="T0" fmla="*/ 1357 w 1890"/>
                <a:gd name="T1" fmla="*/ 1281 h 1478"/>
                <a:gd name="T2" fmla="*/ 1246 w 1890"/>
                <a:gd name="T3" fmla="*/ 1190 h 1478"/>
                <a:gd name="T4" fmla="*/ 1246 w 1890"/>
                <a:gd name="T5" fmla="*/ 1125 h 1478"/>
                <a:gd name="T6" fmla="*/ 1252 w 1890"/>
                <a:gd name="T7" fmla="*/ 1014 h 1478"/>
                <a:gd name="T8" fmla="*/ 1258 w 1890"/>
                <a:gd name="T9" fmla="*/ 874 h 1478"/>
                <a:gd name="T10" fmla="*/ 1263 w 1890"/>
                <a:gd name="T11" fmla="*/ 767 h 1478"/>
                <a:gd name="T12" fmla="*/ 1267 w 1890"/>
                <a:gd name="T13" fmla="*/ 719 h 1478"/>
                <a:gd name="T14" fmla="*/ 1362 w 1890"/>
                <a:gd name="T15" fmla="*/ 639 h 1478"/>
                <a:gd name="T16" fmla="*/ 1267 w 1890"/>
                <a:gd name="T17" fmla="*/ 245 h 1478"/>
                <a:gd name="T18" fmla="*/ 1055 w 1890"/>
                <a:gd name="T19" fmla="*/ 138 h 1478"/>
                <a:gd name="T20" fmla="*/ 962 w 1890"/>
                <a:gd name="T21" fmla="*/ 31 h 1478"/>
                <a:gd name="T22" fmla="*/ 594 w 1890"/>
                <a:gd name="T23" fmla="*/ 0 h 1478"/>
                <a:gd name="T24" fmla="*/ 458 w 1890"/>
                <a:gd name="T25" fmla="*/ 126 h 1478"/>
                <a:gd name="T26" fmla="*/ 306 w 1890"/>
                <a:gd name="T27" fmla="*/ 175 h 1478"/>
                <a:gd name="T28" fmla="*/ 221 w 1890"/>
                <a:gd name="T29" fmla="*/ 261 h 1478"/>
                <a:gd name="T30" fmla="*/ 83 w 1890"/>
                <a:gd name="T31" fmla="*/ 881 h 1478"/>
                <a:gd name="T32" fmla="*/ 61 w 1890"/>
                <a:gd name="T33" fmla="*/ 1358 h 1478"/>
                <a:gd name="T34" fmla="*/ 314 w 1890"/>
                <a:gd name="T35" fmla="*/ 1331 h 1478"/>
                <a:gd name="T36" fmla="*/ 423 w 1890"/>
                <a:gd name="T37" fmla="*/ 741 h 1478"/>
                <a:gd name="T38" fmla="*/ 467 w 1890"/>
                <a:gd name="T39" fmla="*/ 721 h 1478"/>
                <a:gd name="T40" fmla="*/ 416 w 1890"/>
                <a:gd name="T41" fmla="*/ 1056 h 1478"/>
                <a:gd name="T42" fmla="*/ 418 w 1890"/>
                <a:gd name="T43" fmla="*/ 1413 h 1478"/>
                <a:gd name="T44" fmla="*/ 765 w 1890"/>
                <a:gd name="T45" fmla="*/ 1477 h 1478"/>
                <a:gd name="T46" fmla="*/ 740 w 1890"/>
                <a:gd name="T47" fmla="*/ 1300 h 1478"/>
                <a:gd name="T48" fmla="*/ 731 w 1890"/>
                <a:gd name="T49" fmla="*/ 1231 h 1478"/>
                <a:gd name="T50" fmla="*/ 833 w 1890"/>
                <a:gd name="T51" fmla="*/ 1072 h 1478"/>
                <a:gd name="T52" fmla="*/ 885 w 1890"/>
                <a:gd name="T53" fmla="*/ 1047 h 1478"/>
                <a:gd name="T54" fmla="*/ 957 w 1890"/>
                <a:gd name="T55" fmla="*/ 1122 h 1478"/>
                <a:gd name="T56" fmla="*/ 1077 w 1890"/>
                <a:gd name="T57" fmla="*/ 1389 h 1478"/>
                <a:gd name="T58" fmla="*/ 1118 w 1890"/>
                <a:gd name="T59" fmla="*/ 1351 h 1478"/>
                <a:gd name="T60" fmla="*/ 1041 w 1890"/>
                <a:gd name="T61" fmla="*/ 868 h 1478"/>
                <a:gd name="T62" fmla="*/ 1035 w 1890"/>
                <a:gd name="T63" fmla="*/ 671 h 1478"/>
                <a:gd name="T64" fmla="*/ 1066 w 1890"/>
                <a:gd name="T65" fmla="*/ 722 h 1478"/>
                <a:gd name="T66" fmla="*/ 1181 w 1890"/>
                <a:gd name="T67" fmla="*/ 1335 h 1478"/>
                <a:gd name="T68" fmla="*/ 1278 w 1890"/>
                <a:gd name="T69" fmla="*/ 1382 h 1478"/>
                <a:gd name="T70" fmla="*/ 1488 w 1890"/>
                <a:gd name="T71" fmla="*/ 1283 h 1478"/>
                <a:gd name="T72" fmla="*/ 746 w 1890"/>
                <a:gd name="T73" fmla="*/ 985 h 1478"/>
                <a:gd name="T74" fmla="*/ 748 w 1890"/>
                <a:gd name="T75" fmla="*/ 863 h 1478"/>
                <a:gd name="T76" fmla="*/ 746 w 1890"/>
                <a:gd name="T77" fmla="*/ 985 h 1478"/>
                <a:gd name="T78" fmla="*/ 748 w 1890"/>
                <a:gd name="T79" fmla="*/ 647 h 1478"/>
                <a:gd name="T80" fmla="*/ 747 w 1890"/>
                <a:gd name="T81" fmla="*/ 769 h 1478"/>
                <a:gd name="T82" fmla="*/ 747 w 1890"/>
                <a:gd name="T83" fmla="*/ 554 h 1478"/>
                <a:gd name="T84" fmla="*/ 748 w 1890"/>
                <a:gd name="T85" fmla="*/ 432 h 1478"/>
                <a:gd name="T86" fmla="*/ 747 w 1890"/>
                <a:gd name="T87" fmla="*/ 554 h 1478"/>
                <a:gd name="T88" fmla="*/ 887 w 1890"/>
                <a:gd name="T89" fmla="*/ 223 h 1478"/>
                <a:gd name="T90" fmla="*/ 784 w 1890"/>
                <a:gd name="T91" fmla="*/ 198 h 1478"/>
                <a:gd name="T92" fmla="*/ 688 w 1890"/>
                <a:gd name="T93" fmla="*/ 212 h 1478"/>
                <a:gd name="T94" fmla="*/ 587 w 1890"/>
                <a:gd name="T95" fmla="*/ 199 h 1478"/>
                <a:gd name="T96" fmla="*/ 614 w 1890"/>
                <a:gd name="T97" fmla="*/ 128 h 1478"/>
                <a:gd name="T98" fmla="*/ 868 w 1890"/>
                <a:gd name="T99" fmla="*/ 124 h 1478"/>
                <a:gd name="T100" fmla="*/ 909 w 1890"/>
                <a:gd name="T101" fmla="*/ 163 h 1478"/>
                <a:gd name="T102" fmla="*/ 1890 w 1890"/>
                <a:gd name="T103" fmla="*/ 766 h 1478"/>
                <a:gd name="T104" fmla="*/ 1792 w 1890"/>
                <a:gd name="T105" fmla="*/ 769 h 1478"/>
                <a:gd name="T106" fmla="*/ 1758 w 1890"/>
                <a:gd name="T107" fmla="*/ 498 h 1478"/>
                <a:gd name="T108" fmla="*/ 1637 w 1890"/>
                <a:gd name="T109" fmla="*/ 498 h 1478"/>
                <a:gd name="T110" fmla="*/ 1599 w 1890"/>
                <a:gd name="T111" fmla="*/ 766 h 1478"/>
                <a:gd name="T112" fmla="*/ 1501 w 1890"/>
                <a:gd name="T113" fmla="*/ 769 h 1478"/>
                <a:gd name="T114" fmla="*/ 1532 w 1890"/>
                <a:gd name="T115" fmla="*/ 673 h 1478"/>
                <a:gd name="T116" fmla="*/ 1698 w 1890"/>
                <a:gd name="T117" fmla="*/ 428 h 1478"/>
                <a:gd name="T118" fmla="*/ 1865 w 1890"/>
                <a:gd name="T119" fmla="*/ 673 h 1478"/>
                <a:gd name="T120" fmla="*/ 1890 w 1890"/>
                <a:gd name="T121" fmla="*/ 766 h 1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90" h="1478">
                  <a:moveTo>
                    <a:pt x="1487" y="1281"/>
                  </a:moveTo>
                  <a:cubicBezTo>
                    <a:pt x="1444" y="1281"/>
                    <a:pt x="1401" y="1281"/>
                    <a:pt x="1357" y="1281"/>
                  </a:cubicBezTo>
                  <a:cubicBezTo>
                    <a:pt x="1344" y="1281"/>
                    <a:pt x="1331" y="1279"/>
                    <a:pt x="1318" y="1276"/>
                  </a:cubicBezTo>
                  <a:cubicBezTo>
                    <a:pt x="1278" y="1267"/>
                    <a:pt x="1249" y="1233"/>
                    <a:pt x="1246" y="1190"/>
                  </a:cubicBezTo>
                  <a:cubicBezTo>
                    <a:pt x="1245" y="1168"/>
                    <a:pt x="1245" y="1148"/>
                    <a:pt x="1246" y="1128"/>
                  </a:cubicBezTo>
                  <a:cubicBezTo>
                    <a:pt x="1246" y="1125"/>
                    <a:pt x="1246" y="1125"/>
                    <a:pt x="1246" y="1125"/>
                  </a:cubicBezTo>
                  <a:cubicBezTo>
                    <a:pt x="1247" y="1099"/>
                    <a:pt x="1249" y="1073"/>
                    <a:pt x="1250" y="1048"/>
                  </a:cubicBezTo>
                  <a:cubicBezTo>
                    <a:pt x="1250" y="1036"/>
                    <a:pt x="1251" y="1025"/>
                    <a:pt x="1252" y="1014"/>
                  </a:cubicBezTo>
                  <a:cubicBezTo>
                    <a:pt x="1253" y="982"/>
                    <a:pt x="1253" y="982"/>
                    <a:pt x="1253" y="982"/>
                  </a:cubicBezTo>
                  <a:cubicBezTo>
                    <a:pt x="1255" y="946"/>
                    <a:pt x="1257" y="910"/>
                    <a:pt x="1258" y="874"/>
                  </a:cubicBezTo>
                  <a:cubicBezTo>
                    <a:pt x="1259" y="858"/>
                    <a:pt x="1260" y="842"/>
                    <a:pt x="1261" y="826"/>
                  </a:cubicBezTo>
                  <a:cubicBezTo>
                    <a:pt x="1262" y="807"/>
                    <a:pt x="1262" y="787"/>
                    <a:pt x="1263" y="767"/>
                  </a:cubicBezTo>
                  <a:cubicBezTo>
                    <a:pt x="1264" y="764"/>
                    <a:pt x="1264" y="761"/>
                    <a:pt x="1264" y="757"/>
                  </a:cubicBezTo>
                  <a:cubicBezTo>
                    <a:pt x="1264" y="745"/>
                    <a:pt x="1265" y="733"/>
                    <a:pt x="1267" y="719"/>
                  </a:cubicBezTo>
                  <a:cubicBezTo>
                    <a:pt x="1273" y="671"/>
                    <a:pt x="1308" y="640"/>
                    <a:pt x="1357" y="639"/>
                  </a:cubicBezTo>
                  <a:cubicBezTo>
                    <a:pt x="1359" y="639"/>
                    <a:pt x="1361" y="639"/>
                    <a:pt x="1362" y="639"/>
                  </a:cubicBezTo>
                  <a:cubicBezTo>
                    <a:pt x="1347" y="563"/>
                    <a:pt x="1332" y="488"/>
                    <a:pt x="1316" y="412"/>
                  </a:cubicBezTo>
                  <a:cubicBezTo>
                    <a:pt x="1304" y="355"/>
                    <a:pt x="1284" y="300"/>
                    <a:pt x="1267" y="245"/>
                  </a:cubicBezTo>
                  <a:cubicBezTo>
                    <a:pt x="1256" y="210"/>
                    <a:pt x="1230" y="188"/>
                    <a:pt x="1195" y="178"/>
                  </a:cubicBezTo>
                  <a:cubicBezTo>
                    <a:pt x="1149" y="165"/>
                    <a:pt x="1102" y="152"/>
                    <a:pt x="1055" y="138"/>
                  </a:cubicBezTo>
                  <a:cubicBezTo>
                    <a:pt x="1048" y="136"/>
                    <a:pt x="1041" y="132"/>
                    <a:pt x="1037" y="126"/>
                  </a:cubicBezTo>
                  <a:cubicBezTo>
                    <a:pt x="1012" y="95"/>
                    <a:pt x="986" y="63"/>
                    <a:pt x="962" y="31"/>
                  </a:cubicBezTo>
                  <a:cubicBezTo>
                    <a:pt x="946" y="10"/>
                    <a:pt x="926" y="0"/>
                    <a:pt x="900" y="0"/>
                  </a:cubicBezTo>
                  <a:cubicBezTo>
                    <a:pt x="798" y="1"/>
                    <a:pt x="696" y="1"/>
                    <a:pt x="594" y="0"/>
                  </a:cubicBezTo>
                  <a:cubicBezTo>
                    <a:pt x="569" y="0"/>
                    <a:pt x="549" y="10"/>
                    <a:pt x="534" y="30"/>
                  </a:cubicBezTo>
                  <a:cubicBezTo>
                    <a:pt x="509" y="62"/>
                    <a:pt x="484" y="94"/>
                    <a:pt x="458" y="126"/>
                  </a:cubicBezTo>
                  <a:cubicBezTo>
                    <a:pt x="454" y="131"/>
                    <a:pt x="446" y="136"/>
                    <a:pt x="439" y="138"/>
                  </a:cubicBezTo>
                  <a:cubicBezTo>
                    <a:pt x="395" y="151"/>
                    <a:pt x="351" y="163"/>
                    <a:pt x="306" y="175"/>
                  </a:cubicBezTo>
                  <a:cubicBezTo>
                    <a:pt x="266" y="185"/>
                    <a:pt x="239" y="210"/>
                    <a:pt x="225" y="249"/>
                  </a:cubicBezTo>
                  <a:cubicBezTo>
                    <a:pt x="224" y="253"/>
                    <a:pt x="222" y="257"/>
                    <a:pt x="221" y="261"/>
                  </a:cubicBezTo>
                  <a:cubicBezTo>
                    <a:pt x="203" y="328"/>
                    <a:pt x="182" y="393"/>
                    <a:pt x="168" y="460"/>
                  </a:cubicBezTo>
                  <a:cubicBezTo>
                    <a:pt x="138" y="600"/>
                    <a:pt x="110" y="741"/>
                    <a:pt x="83" y="881"/>
                  </a:cubicBezTo>
                  <a:cubicBezTo>
                    <a:pt x="57" y="1015"/>
                    <a:pt x="32" y="1149"/>
                    <a:pt x="7" y="1284"/>
                  </a:cubicBezTo>
                  <a:cubicBezTo>
                    <a:pt x="0" y="1322"/>
                    <a:pt x="23" y="1353"/>
                    <a:pt x="61" y="1358"/>
                  </a:cubicBezTo>
                  <a:cubicBezTo>
                    <a:pt x="122" y="1366"/>
                    <a:pt x="182" y="1375"/>
                    <a:pt x="242" y="1383"/>
                  </a:cubicBezTo>
                  <a:cubicBezTo>
                    <a:pt x="279" y="1388"/>
                    <a:pt x="306" y="1368"/>
                    <a:pt x="314" y="1331"/>
                  </a:cubicBezTo>
                  <a:cubicBezTo>
                    <a:pt x="318" y="1307"/>
                    <a:pt x="322" y="1284"/>
                    <a:pt x="327" y="1261"/>
                  </a:cubicBezTo>
                  <a:cubicBezTo>
                    <a:pt x="359" y="1088"/>
                    <a:pt x="391" y="914"/>
                    <a:pt x="423" y="741"/>
                  </a:cubicBezTo>
                  <a:cubicBezTo>
                    <a:pt x="428" y="714"/>
                    <a:pt x="439" y="690"/>
                    <a:pt x="459" y="667"/>
                  </a:cubicBezTo>
                  <a:cubicBezTo>
                    <a:pt x="462" y="687"/>
                    <a:pt x="465" y="704"/>
                    <a:pt x="467" y="721"/>
                  </a:cubicBezTo>
                  <a:cubicBezTo>
                    <a:pt x="469" y="744"/>
                    <a:pt x="473" y="769"/>
                    <a:pt x="469" y="791"/>
                  </a:cubicBezTo>
                  <a:cubicBezTo>
                    <a:pt x="453" y="880"/>
                    <a:pt x="433" y="968"/>
                    <a:pt x="416" y="1056"/>
                  </a:cubicBezTo>
                  <a:cubicBezTo>
                    <a:pt x="396" y="1152"/>
                    <a:pt x="379" y="1248"/>
                    <a:pt x="377" y="1347"/>
                  </a:cubicBezTo>
                  <a:cubicBezTo>
                    <a:pt x="376" y="1378"/>
                    <a:pt x="389" y="1399"/>
                    <a:pt x="418" y="1413"/>
                  </a:cubicBezTo>
                  <a:cubicBezTo>
                    <a:pt x="476" y="1441"/>
                    <a:pt x="538" y="1457"/>
                    <a:pt x="602" y="1466"/>
                  </a:cubicBezTo>
                  <a:cubicBezTo>
                    <a:pt x="656" y="1475"/>
                    <a:pt x="710" y="1478"/>
                    <a:pt x="765" y="1477"/>
                  </a:cubicBezTo>
                  <a:cubicBezTo>
                    <a:pt x="764" y="1466"/>
                    <a:pt x="763" y="1454"/>
                    <a:pt x="762" y="1443"/>
                  </a:cubicBezTo>
                  <a:cubicBezTo>
                    <a:pt x="758" y="1392"/>
                    <a:pt x="749" y="1342"/>
                    <a:pt x="740" y="1300"/>
                  </a:cubicBezTo>
                  <a:cubicBezTo>
                    <a:pt x="739" y="1296"/>
                    <a:pt x="739" y="1296"/>
                    <a:pt x="739" y="1296"/>
                  </a:cubicBezTo>
                  <a:cubicBezTo>
                    <a:pt x="735" y="1277"/>
                    <a:pt x="730" y="1255"/>
                    <a:pt x="731" y="1231"/>
                  </a:cubicBezTo>
                  <a:cubicBezTo>
                    <a:pt x="734" y="1172"/>
                    <a:pt x="758" y="1126"/>
                    <a:pt x="804" y="1093"/>
                  </a:cubicBezTo>
                  <a:cubicBezTo>
                    <a:pt x="814" y="1086"/>
                    <a:pt x="823" y="1079"/>
                    <a:pt x="833" y="1072"/>
                  </a:cubicBezTo>
                  <a:cubicBezTo>
                    <a:pt x="839" y="1068"/>
                    <a:pt x="844" y="1064"/>
                    <a:pt x="850" y="1060"/>
                  </a:cubicBezTo>
                  <a:cubicBezTo>
                    <a:pt x="862" y="1052"/>
                    <a:pt x="873" y="1047"/>
                    <a:pt x="885" y="1047"/>
                  </a:cubicBezTo>
                  <a:cubicBezTo>
                    <a:pt x="897" y="1047"/>
                    <a:pt x="919" y="1052"/>
                    <a:pt x="934" y="1079"/>
                  </a:cubicBezTo>
                  <a:cubicBezTo>
                    <a:pt x="942" y="1093"/>
                    <a:pt x="949" y="1108"/>
                    <a:pt x="957" y="1122"/>
                  </a:cubicBezTo>
                  <a:cubicBezTo>
                    <a:pt x="978" y="1159"/>
                    <a:pt x="999" y="1198"/>
                    <a:pt x="1019" y="1237"/>
                  </a:cubicBezTo>
                  <a:cubicBezTo>
                    <a:pt x="1042" y="1279"/>
                    <a:pt x="1060" y="1326"/>
                    <a:pt x="1077" y="1389"/>
                  </a:cubicBezTo>
                  <a:cubicBezTo>
                    <a:pt x="1079" y="1397"/>
                    <a:pt x="1082" y="1403"/>
                    <a:pt x="1084" y="1409"/>
                  </a:cubicBezTo>
                  <a:cubicBezTo>
                    <a:pt x="1107" y="1396"/>
                    <a:pt x="1120" y="1377"/>
                    <a:pt x="1118" y="1351"/>
                  </a:cubicBezTo>
                  <a:cubicBezTo>
                    <a:pt x="1115" y="1300"/>
                    <a:pt x="1113" y="1249"/>
                    <a:pt x="1105" y="1198"/>
                  </a:cubicBezTo>
                  <a:cubicBezTo>
                    <a:pt x="1085" y="1088"/>
                    <a:pt x="1062" y="978"/>
                    <a:pt x="1041" y="868"/>
                  </a:cubicBezTo>
                  <a:cubicBezTo>
                    <a:pt x="1034" y="828"/>
                    <a:pt x="1020" y="789"/>
                    <a:pt x="1026" y="748"/>
                  </a:cubicBezTo>
                  <a:cubicBezTo>
                    <a:pt x="1030" y="722"/>
                    <a:pt x="1032" y="697"/>
                    <a:pt x="1035" y="671"/>
                  </a:cubicBezTo>
                  <a:cubicBezTo>
                    <a:pt x="1037" y="670"/>
                    <a:pt x="1039" y="670"/>
                    <a:pt x="1041" y="670"/>
                  </a:cubicBezTo>
                  <a:cubicBezTo>
                    <a:pt x="1049" y="687"/>
                    <a:pt x="1062" y="704"/>
                    <a:pt x="1066" y="722"/>
                  </a:cubicBezTo>
                  <a:cubicBezTo>
                    <a:pt x="1091" y="847"/>
                    <a:pt x="1115" y="972"/>
                    <a:pt x="1138" y="1097"/>
                  </a:cubicBezTo>
                  <a:cubicBezTo>
                    <a:pt x="1153" y="1176"/>
                    <a:pt x="1166" y="1255"/>
                    <a:pt x="1181" y="1335"/>
                  </a:cubicBezTo>
                  <a:cubicBezTo>
                    <a:pt x="1186" y="1364"/>
                    <a:pt x="1208" y="1384"/>
                    <a:pt x="1237" y="1386"/>
                  </a:cubicBezTo>
                  <a:cubicBezTo>
                    <a:pt x="1250" y="1387"/>
                    <a:pt x="1264" y="1384"/>
                    <a:pt x="1278" y="1382"/>
                  </a:cubicBezTo>
                  <a:cubicBezTo>
                    <a:pt x="1331" y="1374"/>
                    <a:pt x="1385" y="1367"/>
                    <a:pt x="1438" y="1358"/>
                  </a:cubicBezTo>
                  <a:cubicBezTo>
                    <a:pt x="1475" y="1352"/>
                    <a:pt x="1495" y="1320"/>
                    <a:pt x="1488" y="1283"/>
                  </a:cubicBezTo>
                  <a:cubicBezTo>
                    <a:pt x="1488" y="1282"/>
                    <a:pt x="1487" y="1281"/>
                    <a:pt x="1487" y="1281"/>
                  </a:cubicBezTo>
                  <a:close/>
                  <a:moveTo>
                    <a:pt x="746" y="985"/>
                  </a:moveTo>
                  <a:cubicBezTo>
                    <a:pt x="712" y="985"/>
                    <a:pt x="685" y="957"/>
                    <a:pt x="686" y="923"/>
                  </a:cubicBezTo>
                  <a:cubicBezTo>
                    <a:pt x="686" y="889"/>
                    <a:pt x="714" y="863"/>
                    <a:pt x="748" y="863"/>
                  </a:cubicBezTo>
                  <a:cubicBezTo>
                    <a:pt x="783" y="863"/>
                    <a:pt x="809" y="891"/>
                    <a:pt x="809" y="925"/>
                  </a:cubicBezTo>
                  <a:cubicBezTo>
                    <a:pt x="808" y="959"/>
                    <a:pt x="781" y="985"/>
                    <a:pt x="746" y="985"/>
                  </a:cubicBezTo>
                  <a:close/>
                  <a:moveTo>
                    <a:pt x="686" y="708"/>
                  </a:moveTo>
                  <a:cubicBezTo>
                    <a:pt x="686" y="674"/>
                    <a:pt x="714" y="647"/>
                    <a:pt x="748" y="647"/>
                  </a:cubicBezTo>
                  <a:cubicBezTo>
                    <a:pt x="782" y="648"/>
                    <a:pt x="809" y="675"/>
                    <a:pt x="809" y="709"/>
                  </a:cubicBezTo>
                  <a:cubicBezTo>
                    <a:pt x="808" y="743"/>
                    <a:pt x="781" y="770"/>
                    <a:pt x="747" y="769"/>
                  </a:cubicBezTo>
                  <a:cubicBezTo>
                    <a:pt x="712" y="769"/>
                    <a:pt x="685" y="742"/>
                    <a:pt x="686" y="708"/>
                  </a:cubicBezTo>
                  <a:close/>
                  <a:moveTo>
                    <a:pt x="747" y="554"/>
                  </a:moveTo>
                  <a:cubicBezTo>
                    <a:pt x="713" y="554"/>
                    <a:pt x="686" y="527"/>
                    <a:pt x="686" y="493"/>
                  </a:cubicBezTo>
                  <a:cubicBezTo>
                    <a:pt x="686" y="459"/>
                    <a:pt x="713" y="432"/>
                    <a:pt x="748" y="432"/>
                  </a:cubicBezTo>
                  <a:cubicBezTo>
                    <a:pt x="782" y="432"/>
                    <a:pt x="809" y="459"/>
                    <a:pt x="809" y="493"/>
                  </a:cubicBezTo>
                  <a:cubicBezTo>
                    <a:pt x="809" y="527"/>
                    <a:pt x="782" y="554"/>
                    <a:pt x="747" y="554"/>
                  </a:cubicBezTo>
                  <a:close/>
                  <a:moveTo>
                    <a:pt x="908" y="199"/>
                  </a:moveTo>
                  <a:cubicBezTo>
                    <a:pt x="901" y="207"/>
                    <a:pt x="894" y="215"/>
                    <a:pt x="887" y="223"/>
                  </a:cubicBezTo>
                  <a:cubicBezTo>
                    <a:pt x="876" y="235"/>
                    <a:pt x="864" y="237"/>
                    <a:pt x="850" y="230"/>
                  </a:cubicBezTo>
                  <a:cubicBezTo>
                    <a:pt x="828" y="220"/>
                    <a:pt x="806" y="209"/>
                    <a:pt x="784" y="198"/>
                  </a:cubicBezTo>
                  <a:cubicBezTo>
                    <a:pt x="754" y="182"/>
                    <a:pt x="725" y="185"/>
                    <a:pt x="695" y="208"/>
                  </a:cubicBezTo>
                  <a:cubicBezTo>
                    <a:pt x="693" y="209"/>
                    <a:pt x="691" y="211"/>
                    <a:pt x="688" y="212"/>
                  </a:cubicBezTo>
                  <a:cubicBezTo>
                    <a:pt x="624" y="236"/>
                    <a:pt x="632" y="245"/>
                    <a:pt x="608" y="221"/>
                  </a:cubicBezTo>
                  <a:cubicBezTo>
                    <a:pt x="601" y="214"/>
                    <a:pt x="594" y="207"/>
                    <a:pt x="587" y="199"/>
                  </a:cubicBezTo>
                  <a:cubicBezTo>
                    <a:pt x="578" y="189"/>
                    <a:pt x="578" y="174"/>
                    <a:pt x="586" y="163"/>
                  </a:cubicBezTo>
                  <a:cubicBezTo>
                    <a:pt x="595" y="151"/>
                    <a:pt x="605" y="139"/>
                    <a:pt x="614" y="128"/>
                  </a:cubicBezTo>
                  <a:cubicBezTo>
                    <a:pt x="617" y="125"/>
                    <a:pt x="622" y="124"/>
                    <a:pt x="626" y="124"/>
                  </a:cubicBezTo>
                  <a:cubicBezTo>
                    <a:pt x="707" y="123"/>
                    <a:pt x="787" y="123"/>
                    <a:pt x="868" y="124"/>
                  </a:cubicBezTo>
                  <a:cubicBezTo>
                    <a:pt x="872" y="124"/>
                    <a:pt x="878" y="125"/>
                    <a:pt x="881" y="128"/>
                  </a:cubicBezTo>
                  <a:cubicBezTo>
                    <a:pt x="890" y="140"/>
                    <a:pt x="900" y="151"/>
                    <a:pt x="909" y="163"/>
                  </a:cubicBezTo>
                  <a:cubicBezTo>
                    <a:pt x="917" y="174"/>
                    <a:pt x="917" y="189"/>
                    <a:pt x="908" y="199"/>
                  </a:cubicBezTo>
                  <a:close/>
                  <a:moveTo>
                    <a:pt x="1890" y="766"/>
                  </a:moveTo>
                  <a:cubicBezTo>
                    <a:pt x="1841" y="817"/>
                    <a:pt x="1841" y="817"/>
                    <a:pt x="1841" y="817"/>
                  </a:cubicBezTo>
                  <a:cubicBezTo>
                    <a:pt x="1792" y="769"/>
                    <a:pt x="1792" y="769"/>
                    <a:pt x="1792" y="769"/>
                  </a:cubicBezTo>
                  <a:cubicBezTo>
                    <a:pt x="1821" y="677"/>
                    <a:pt x="1821" y="677"/>
                    <a:pt x="1821" y="677"/>
                  </a:cubicBezTo>
                  <a:cubicBezTo>
                    <a:pt x="1815" y="619"/>
                    <a:pt x="1799" y="539"/>
                    <a:pt x="1758" y="498"/>
                  </a:cubicBezTo>
                  <a:cubicBezTo>
                    <a:pt x="1741" y="481"/>
                    <a:pt x="1721" y="472"/>
                    <a:pt x="1698" y="472"/>
                  </a:cubicBezTo>
                  <a:cubicBezTo>
                    <a:pt x="1674" y="472"/>
                    <a:pt x="1654" y="480"/>
                    <a:pt x="1637" y="498"/>
                  </a:cubicBezTo>
                  <a:cubicBezTo>
                    <a:pt x="1597" y="539"/>
                    <a:pt x="1582" y="619"/>
                    <a:pt x="1576" y="678"/>
                  </a:cubicBezTo>
                  <a:cubicBezTo>
                    <a:pt x="1599" y="766"/>
                    <a:pt x="1599" y="766"/>
                    <a:pt x="1599" y="766"/>
                  </a:cubicBezTo>
                  <a:cubicBezTo>
                    <a:pt x="1551" y="817"/>
                    <a:pt x="1551" y="817"/>
                    <a:pt x="1551" y="817"/>
                  </a:cubicBezTo>
                  <a:cubicBezTo>
                    <a:pt x="1501" y="769"/>
                    <a:pt x="1501" y="769"/>
                    <a:pt x="1501" y="769"/>
                  </a:cubicBezTo>
                  <a:cubicBezTo>
                    <a:pt x="1532" y="673"/>
                    <a:pt x="1532" y="673"/>
                    <a:pt x="1532" y="673"/>
                  </a:cubicBezTo>
                  <a:cubicBezTo>
                    <a:pt x="1532" y="673"/>
                    <a:pt x="1532" y="673"/>
                    <a:pt x="1532" y="673"/>
                  </a:cubicBezTo>
                  <a:cubicBezTo>
                    <a:pt x="1539" y="608"/>
                    <a:pt x="1557" y="518"/>
                    <a:pt x="1606" y="467"/>
                  </a:cubicBezTo>
                  <a:cubicBezTo>
                    <a:pt x="1631" y="441"/>
                    <a:pt x="1662" y="428"/>
                    <a:pt x="1698" y="428"/>
                  </a:cubicBezTo>
                  <a:cubicBezTo>
                    <a:pt x="1733" y="428"/>
                    <a:pt x="1764" y="441"/>
                    <a:pt x="1790" y="467"/>
                  </a:cubicBezTo>
                  <a:cubicBezTo>
                    <a:pt x="1839" y="518"/>
                    <a:pt x="1858" y="608"/>
                    <a:pt x="1865" y="673"/>
                  </a:cubicBezTo>
                  <a:cubicBezTo>
                    <a:pt x="1866" y="673"/>
                    <a:pt x="1866" y="673"/>
                    <a:pt x="1866" y="673"/>
                  </a:cubicBezTo>
                  <a:lnTo>
                    <a:pt x="1890" y="766"/>
                  </a:lnTo>
                  <a:close/>
                </a:path>
              </a:pathLst>
            </a:custGeom>
            <a:solidFill>
              <a:srgbClr val="98A6CC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1" name="Group 99">
            <a:extLst>
              <a:ext uri="{FF2B5EF4-FFF2-40B4-BE49-F238E27FC236}">
                <a16:creationId xmlns:a16="http://schemas.microsoft.com/office/drawing/2014/main" xmlns="" id="{DC0E193C-AA8A-40DE-BB5E-11B3B395512B}"/>
              </a:ext>
            </a:extLst>
          </p:cNvPr>
          <p:cNvGrpSpPr>
            <a:grpSpLocks noChangeAspect="1"/>
          </p:cNvGrpSpPr>
          <p:nvPr/>
        </p:nvGrpSpPr>
        <p:grpSpPr>
          <a:xfrm>
            <a:off x="9877537" y="1180435"/>
            <a:ext cx="1141254" cy="1141251"/>
            <a:chOff x="5272883" y="2606041"/>
            <a:chExt cx="1646234" cy="1646231"/>
          </a:xfrm>
        </p:grpSpPr>
        <p:sp>
          <p:nvSpPr>
            <p:cNvPr id="22" name="AutoShape 121">
              <a:extLst>
                <a:ext uri="{FF2B5EF4-FFF2-40B4-BE49-F238E27FC236}">
                  <a16:creationId xmlns:a16="http://schemas.microsoft.com/office/drawing/2014/main" xmlns="" id="{80519537-F2A4-44D3-8BC9-33538DC2633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23" name="Rectangle 101">
              <a:extLst>
                <a:ext uri="{FF2B5EF4-FFF2-40B4-BE49-F238E27FC236}">
                  <a16:creationId xmlns:a16="http://schemas.microsoft.com/office/drawing/2014/main" xmlns="" id="{4BF1D31C-157B-420B-8310-2BBB6BB31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24" name="Group 102">
              <a:extLst>
                <a:ext uri="{FF2B5EF4-FFF2-40B4-BE49-F238E27FC236}">
                  <a16:creationId xmlns:a16="http://schemas.microsoft.com/office/drawing/2014/main" xmlns="" id="{578FFD88-7289-4FEF-9F0E-F3876BD526FA}"/>
                </a:ext>
              </a:extLst>
            </p:cNvPr>
            <p:cNvGrpSpPr/>
            <p:nvPr/>
          </p:nvGrpSpPr>
          <p:grpSpPr>
            <a:xfrm>
              <a:off x="5374958" y="2863038"/>
              <a:ext cx="1442084" cy="1132236"/>
              <a:chOff x="5374958" y="2863038"/>
              <a:chExt cx="1442084" cy="1132236"/>
            </a:xfrm>
          </p:grpSpPr>
          <p:sp>
            <p:nvSpPr>
              <p:cNvPr id="25" name="Freeform 103">
                <a:extLst>
                  <a:ext uri="{FF2B5EF4-FFF2-40B4-BE49-F238E27FC236}">
                    <a16:creationId xmlns:a16="http://schemas.microsoft.com/office/drawing/2014/main" xmlns="" id="{B7F4344F-EBB7-4AE3-9067-A0C6A3D443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4958" y="2863038"/>
                <a:ext cx="1442084" cy="1132236"/>
              </a:xfrm>
              <a:custGeom>
                <a:avLst/>
                <a:gdLst>
                  <a:gd name="T0" fmla="*/ 2347 w 3982"/>
                  <a:gd name="T1" fmla="*/ 2312 h 3128"/>
                  <a:gd name="T2" fmla="*/ 2936 w 3982"/>
                  <a:gd name="T3" fmla="*/ 2414 h 3128"/>
                  <a:gd name="T4" fmla="*/ 2815 w 3982"/>
                  <a:gd name="T5" fmla="*/ 2239 h 3128"/>
                  <a:gd name="T6" fmla="*/ 1262 w 3982"/>
                  <a:gd name="T7" fmla="*/ 2239 h 3128"/>
                  <a:gd name="T8" fmla="*/ 631 w 3982"/>
                  <a:gd name="T9" fmla="*/ 1411 h 3128"/>
                  <a:gd name="T10" fmla="*/ 1199 w 3982"/>
                  <a:gd name="T11" fmla="*/ 1576 h 3128"/>
                  <a:gd name="T12" fmla="*/ 1527 w 3982"/>
                  <a:gd name="T13" fmla="*/ 1323 h 3128"/>
                  <a:gd name="T14" fmla="*/ 1473 w 3982"/>
                  <a:gd name="T15" fmla="*/ 936 h 3128"/>
                  <a:gd name="T16" fmla="*/ 1624 w 3982"/>
                  <a:gd name="T17" fmla="*/ 1323 h 3128"/>
                  <a:gd name="T18" fmla="*/ 1215 w 3982"/>
                  <a:gd name="T19" fmla="*/ 1662 h 3128"/>
                  <a:gd name="T20" fmla="*/ 1022 w 3982"/>
                  <a:gd name="T21" fmla="*/ 1966 h 3128"/>
                  <a:gd name="T22" fmla="*/ 1419 w 3982"/>
                  <a:gd name="T23" fmla="*/ 2175 h 3128"/>
                  <a:gd name="T24" fmla="*/ 1833 w 3982"/>
                  <a:gd name="T25" fmla="*/ 2237 h 3128"/>
                  <a:gd name="T26" fmla="*/ 2917 w 3982"/>
                  <a:gd name="T27" fmla="*/ 2212 h 3128"/>
                  <a:gd name="T28" fmla="*/ 3172 w 3982"/>
                  <a:gd name="T29" fmla="*/ 2369 h 3128"/>
                  <a:gd name="T30" fmla="*/ 3530 w 3982"/>
                  <a:gd name="T31" fmla="*/ 2356 h 3128"/>
                  <a:gd name="T32" fmla="*/ 3481 w 3982"/>
                  <a:gd name="T33" fmla="*/ 1171 h 3128"/>
                  <a:gd name="T34" fmla="*/ 1473 w 3982"/>
                  <a:gd name="T35" fmla="*/ 936 h 3128"/>
                  <a:gd name="T36" fmla="*/ 724 w 3982"/>
                  <a:gd name="T37" fmla="*/ 510 h 3128"/>
                  <a:gd name="T38" fmla="*/ 913 w 3982"/>
                  <a:gd name="T39" fmla="*/ 733 h 3128"/>
                  <a:gd name="T40" fmla="*/ 784 w 3982"/>
                  <a:gd name="T41" fmla="*/ 1134 h 3128"/>
                  <a:gd name="T42" fmla="*/ 1294 w 3982"/>
                  <a:gd name="T43" fmla="*/ 847 h 3128"/>
                  <a:gd name="T44" fmla="*/ 1389 w 3982"/>
                  <a:gd name="T45" fmla="*/ 668 h 3128"/>
                  <a:gd name="T46" fmla="*/ 1715 w 3982"/>
                  <a:gd name="T47" fmla="*/ 399 h 3128"/>
                  <a:gd name="T48" fmla="*/ 1565 w 3982"/>
                  <a:gd name="T49" fmla="*/ 638 h 3128"/>
                  <a:gd name="T50" fmla="*/ 1974 w 3982"/>
                  <a:gd name="T51" fmla="*/ 679 h 3128"/>
                  <a:gd name="T52" fmla="*/ 2056 w 3982"/>
                  <a:gd name="T53" fmla="*/ 526 h 3128"/>
                  <a:gd name="T54" fmla="*/ 272 w 3982"/>
                  <a:gd name="T55" fmla="*/ 419 h 3128"/>
                  <a:gd name="T56" fmla="*/ 89 w 3982"/>
                  <a:gd name="T57" fmla="*/ 583 h 3128"/>
                  <a:gd name="T58" fmla="*/ 464 w 3982"/>
                  <a:gd name="T59" fmla="*/ 740 h 3128"/>
                  <a:gd name="T60" fmla="*/ 585 w 3982"/>
                  <a:gd name="T61" fmla="*/ 484 h 3128"/>
                  <a:gd name="T62" fmla="*/ 660 w 3982"/>
                  <a:gd name="T63" fmla="*/ 88 h 3128"/>
                  <a:gd name="T64" fmla="*/ 1001 w 3982"/>
                  <a:gd name="T65" fmla="*/ 372 h 3128"/>
                  <a:gd name="T66" fmla="*/ 1401 w 3982"/>
                  <a:gd name="T67" fmla="*/ 246 h 3128"/>
                  <a:gd name="T68" fmla="*/ 1587 w 3982"/>
                  <a:gd name="T69" fmla="*/ 31 h 3128"/>
                  <a:gd name="T70" fmla="*/ 1502 w 3982"/>
                  <a:gd name="T71" fmla="*/ 449 h 3128"/>
                  <a:gd name="T72" fmla="*/ 2030 w 3982"/>
                  <a:gd name="T73" fmla="*/ 393 h 3128"/>
                  <a:gd name="T74" fmla="*/ 2098 w 3982"/>
                  <a:gd name="T75" fmla="*/ 696 h 3128"/>
                  <a:gd name="T76" fmla="*/ 1584 w 3982"/>
                  <a:gd name="T77" fmla="*/ 777 h 3128"/>
                  <a:gd name="T78" fmla="*/ 3524 w 3982"/>
                  <a:gd name="T79" fmla="*/ 861 h 3128"/>
                  <a:gd name="T80" fmla="*/ 3841 w 3982"/>
                  <a:gd name="T81" fmla="*/ 1003 h 3128"/>
                  <a:gd name="T82" fmla="*/ 3951 w 3982"/>
                  <a:gd name="T83" fmla="*/ 1517 h 3128"/>
                  <a:gd name="T84" fmla="*/ 3894 w 3982"/>
                  <a:gd name="T85" fmla="*/ 1924 h 3128"/>
                  <a:gd name="T86" fmla="*/ 3809 w 3982"/>
                  <a:gd name="T87" fmla="*/ 1714 h 3128"/>
                  <a:gd name="T88" fmla="*/ 3882 w 3982"/>
                  <a:gd name="T89" fmla="*/ 1210 h 3128"/>
                  <a:gd name="T90" fmla="*/ 3592 w 3982"/>
                  <a:gd name="T91" fmla="*/ 962 h 3128"/>
                  <a:gd name="T92" fmla="*/ 3572 w 3982"/>
                  <a:gd name="T93" fmla="*/ 1160 h 3128"/>
                  <a:gd name="T94" fmla="*/ 3613 w 3982"/>
                  <a:gd name="T95" fmla="*/ 2388 h 3128"/>
                  <a:gd name="T96" fmla="*/ 2818 w 3982"/>
                  <a:gd name="T97" fmla="*/ 3065 h 3128"/>
                  <a:gd name="T98" fmla="*/ 2555 w 3982"/>
                  <a:gd name="T99" fmla="*/ 2668 h 3128"/>
                  <a:gd name="T100" fmla="*/ 2315 w 3982"/>
                  <a:gd name="T101" fmla="*/ 2534 h 3128"/>
                  <a:gd name="T102" fmla="*/ 2218 w 3982"/>
                  <a:gd name="T103" fmla="*/ 2256 h 3128"/>
                  <a:gd name="T104" fmla="*/ 1769 w 3982"/>
                  <a:gd name="T105" fmla="*/ 3124 h 3128"/>
                  <a:gd name="T106" fmla="*/ 981 w 3982"/>
                  <a:gd name="T107" fmla="*/ 2059 h 3128"/>
                  <a:gd name="T108" fmla="*/ 756 w 3982"/>
                  <a:gd name="T109" fmla="*/ 1612 h 3128"/>
                  <a:gd name="T110" fmla="*/ 569 w 3982"/>
                  <a:gd name="T111" fmla="*/ 1255 h 3128"/>
                  <a:gd name="T112" fmla="*/ 543 w 3982"/>
                  <a:gd name="T113" fmla="*/ 802 h 3128"/>
                  <a:gd name="T114" fmla="*/ 41 w 3982"/>
                  <a:gd name="T115" fmla="*/ 664 h 3128"/>
                  <a:gd name="T116" fmla="*/ 183 w 3982"/>
                  <a:gd name="T117" fmla="*/ 366 h 3128"/>
                  <a:gd name="T118" fmla="*/ 671 w 3982"/>
                  <a:gd name="T119" fmla="*/ 439 h 3128"/>
                  <a:gd name="T120" fmla="*/ 591 w 3982"/>
                  <a:gd name="T121" fmla="*/ 0 h 3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82" h="3128">
                    <a:moveTo>
                      <a:pt x="3071" y="2428"/>
                    </a:moveTo>
                    <a:lnTo>
                      <a:pt x="3034" y="2457"/>
                    </a:lnTo>
                    <a:lnTo>
                      <a:pt x="2993" y="2482"/>
                    </a:lnTo>
                    <a:lnTo>
                      <a:pt x="2949" y="2504"/>
                    </a:lnTo>
                    <a:lnTo>
                      <a:pt x="2902" y="2522"/>
                    </a:lnTo>
                    <a:lnTo>
                      <a:pt x="2902" y="3041"/>
                    </a:lnTo>
                    <a:lnTo>
                      <a:pt x="3120" y="3041"/>
                    </a:lnTo>
                    <a:lnTo>
                      <a:pt x="3120" y="2445"/>
                    </a:lnTo>
                    <a:lnTo>
                      <a:pt x="3071" y="2428"/>
                    </a:lnTo>
                    <a:close/>
                    <a:moveTo>
                      <a:pt x="2305" y="2239"/>
                    </a:moveTo>
                    <a:lnTo>
                      <a:pt x="2322" y="2278"/>
                    </a:lnTo>
                    <a:lnTo>
                      <a:pt x="2347" y="2312"/>
                    </a:lnTo>
                    <a:lnTo>
                      <a:pt x="2376" y="2345"/>
                    </a:lnTo>
                    <a:lnTo>
                      <a:pt x="2411" y="2376"/>
                    </a:lnTo>
                    <a:lnTo>
                      <a:pt x="2451" y="2401"/>
                    </a:lnTo>
                    <a:lnTo>
                      <a:pt x="2495" y="2423"/>
                    </a:lnTo>
                    <a:lnTo>
                      <a:pt x="2544" y="2441"/>
                    </a:lnTo>
                    <a:lnTo>
                      <a:pt x="2596" y="2454"/>
                    </a:lnTo>
                    <a:lnTo>
                      <a:pt x="2650" y="2463"/>
                    </a:lnTo>
                    <a:lnTo>
                      <a:pt x="2705" y="2465"/>
                    </a:lnTo>
                    <a:lnTo>
                      <a:pt x="2767" y="2461"/>
                    </a:lnTo>
                    <a:lnTo>
                      <a:pt x="2826" y="2452"/>
                    </a:lnTo>
                    <a:lnTo>
                      <a:pt x="2883" y="2436"/>
                    </a:lnTo>
                    <a:lnTo>
                      <a:pt x="2936" y="2414"/>
                    </a:lnTo>
                    <a:lnTo>
                      <a:pt x="2983" y="2387"/>
                    </a:lnTo>
                    <a:lnTo>
                      <a:pt x="2949" y="2363"/>
                    </a:lnTo>
                    <a:lnTo>
                      <a:pt x="2920" y="2341"/>
                    </a:lnTo>
                    <a:lnTo>
                      <a:pt x="2896" y="2321"/>
                    </a:lnTo>
                    <a:lnTo>
                      <a:pt x="2877" y="2300"/>
                    </a:lnTo>
                    <a:lnTo>
                      <a:pt x="2862" y="2283"/>
                    </a:lnTo>
                    <a:lnTo>
                      <a:pt x="2851" y="2270"/>
                    </a:lnTo>
                    <a:lnTo>
                      <a:pt x="2844" y="2260"/>
                    </a:lnTo>
                    <a:lnTo>
                      <a:pt x="2841" y="2256"/>
                    </a:lnTo>
                    <a:lnTo>
                      <a:pt x="2834" y="2249"/>
                    </a:lnTo>
                    <a:lnTo>
                      <a:pt x="2825" y="2242"/>
                    </a:lnTo>
                    <a:lnTo>
                      <a:pt x="2815" y="2239"/>
                    </a:lnTo>
                    <a:lnTo>
                      <a:pt x="2305" y="2239"/>
                    </a:lnTo>
                    <a:close/>
                    <a:moveTo>
                      <a:pt x="1214" y="2224"/>
                    </a:moveTo>
                    <a:lnTo>
                      <a:pt x="1269" y="3035"/>
                    </a:lnTo>
                    <a:lnTo>
                      <a:pt x="1270" y="3036"/>
                    </a:lnTo>
                    <a:lnTo>
                      <a:pt x="1272" y="3036"/>
                    </a:lnTo>
                    <a:lnTo>
                      <a:pt x="1273" y="3037"/>
                    </a:lnTo>
                    <a:lnTo>
                      <a:pt x="1496" y="3037"/>
                    </a:lnTo>
                    <a:lnTo>
                      <a:pt x="1415" y="2260"/>
                    </a:lnTo>
                    <a:lnTo>
                      <a:pt x="1385" y="2259"/>
                    </a:lnTo>
                    <a:lnTo>
                      <a:pt x="1347" y="2256"/>
                    </a:lnTo>
                    <a:lnTo>
                      <a:pt x="1306" y="2249"/>
                    </a:lnTo>
                    <a:lnTo>
                      <a:pt x="1262" y="2239"/>
                    </a:lnTo>
                    <a:lnTo>
                      <a:pt x="1214" y="2224"/>
                    </a:lnTo>
                    <a:close/>
                    <a:moveTo>
                      <a:pt x="771" y="1221"/>
                    </a:moveTo>
                    <a:lnTo>
                      <a:pt x="767" y="1225"/>
                    </a:lnTo>
                    <a:lnTo>
                      <a:pt x="731" y="1246"/>
                    </a:lnTo>
                    <a:lnTo>
                      <a:pt x="702" y="1262"/>
                    </a:lnTo>
                    <a:lnTo>
                      <a:pt x="675" y="1280"/>
                    </a:lnTo>
                    <a:lnTo>
                      <a:pt x="651" y="1297"/>
                    </a:lnTo>
                    <a:lnTo>
                      <a:pt x="632" y="1315"/>
                    </a:lnTo>
                    <a:lnTo>
                      <a:pt x="618" y="1332"/>
                    </a:lnTo>
                    <a:lnTo>
                      <a:pt x="614" y="1350"/>
                    </a:lnTo>
                    <a:lnTo>
                      <a:pt x="618" y="1382"/>
                    </a:lnTo>
                    <a:lnTo>
                      <a:pt x="631" y="1411"/>
                    </a:lnTo>
                    <a:lnTo>
                      <a:pt x="651" y="1440"/>
                    </a:lnTo>
                    <a:lnTo>
                      <a:pt x="679" y="1468"/>
                    </a:lnTo>
                    <a:lnTo>
                      <a:pt x="712" y="1492"/>
                    </a:lnTo>
                    <a:lnTo>
                      <a:pt x="752" y="1514"/>
                    </a:lnTo>
                    <a:lnTo>
                      <a:pt x="796" y="1535"/>
                    </a:lnTo>
                    <a:lnTo>
                      <a:pt x="846" y="1552"/>
                    </a:lnTo>
                    <a:lnTo>
                      <a:pt x="899" y="1565"/>
                    </a:lnTo>
                    <a:lnTo>
                      <a:pt x="956" y="1576"/>
                    </a:lnTo>
                    <a:lnTo>
                      <a:pt x="1015" y="1582"/>
                    </a:lnTo>
                    <a:lnTo>
                      <a:pt x="1077" y="1585"/>
                    </a:lnTo>
                    <a:lnTo>
                      <a:pt x="1139" y="1582"/>
                    </a:lnTo>
                    <a:lnTo>
                      <a:pt x="1199" y="1576"/>
                    </a:lnTo>
                    <a:lnTo>
                      <a:pt x="1256" y="1565"/>
                    </a:lnTo>
                    <a:lnTo>
                      <a:pt x="1309" y="1552"/>
                    </a:lnTo>
                    <a:lnTo>
                      <a:pt x="1358" y="1535"/>
                    </a:lnTo>
                    <a:lnTo>
                      <a:pt x="1404" y="1514"/>
                    </a:lnTo>
                    <a:lnTo>
                      <a:pt x="1442" y="1492"/>
                    </a:lnTo>
                    <a:lnTo>
                      <a:pt x="1477" y="1468"/>
                    </a:lnTo>
                    <a:lnTo>
                      <a:pt x="1503" y="1440"/>
                    </a:lnTo>
                    <a:lnTo>
                      <a:pt x="1524" y="1411"/>
                    </a:lnTo>
                    <a:lnTo>
                      <a:pt x="1536" y="1382"/>
                    </a:lnTo>
                    <a:lnTo>
                      <a:pt x="1540" y="1350"/>
                    </a:lnTo>
                    <a:lnTo>
                      <a:pt x="1538" y="1337"/>
                    </a:lnTo>
                    <a:lnTo>
                      <a:pt x="1527" y="1323"/>
                    </a:lnTo>
                    <a:lnTo>
                      <a:pt x="1510" y="1310"/>
                    </a:lnTo>
                    <a:lnTo>
                      <a:pt x="1489" y="1297"/>
                    </a:lnTo>
                    <a:lnTo>
                      <a:pt x="1466" y="1284"/>
                    </a:lnTo>
                    <a:lnTo>
                      <a:pt x="1441" y="1272"/>
                    </a:lnTo>
                    <a:lnTo>
                      <a:pt x="1415" y="1261"/>
                    </a:lnTo>
                    <a:lnTo>
                      <a:pt x="1379" y="1243"/>
                    </a:lnTo>
                    <a:lnTo>
                      <a:pt x="1345" y="1225"/>
                    </a:lnTo>
                    <a:lnTo>
                      <a:pt x="1340" y="1224"/>
                    </a:lnTo>
                    <a:lnTo>
                      <a:pt x="788" y="1224"/>
                    </a:lnTo>
                    <a:lnTo>
                      <a:pt x="780" y="1222"/>
                    </a:lnTo>
                    <a:lnTo>
                      <a:pt x="771" y="1221"/>
                    </a:lnTo>
                    <a:close/>
                    <a:moveTo>
                      <a:pt x="1473" y="936"/>
                    </a:moveTo>
                    <a:lnTo>
                      <a:pt x="1441" y="1144"/>
                    </a:lnTo>
                    <a:lnTo>
                      <a:pt x="1438" y="1159"/>
                    </a:lnTo>
                    <a:lnTo>
                      <a:pt x="1431" y="1173"/>
                    </a:lnTo>
                    <a:lnTo>
                      <a:pt x="1452" y="1181"/>
                    </a:lnTo>
                    <a:lnTo>
                      <a:pt x="1481" y="1195"/>
                    </a:lnTo>
                    <a:lnTo>
                      <a:pt x="1509" y="1208"/>
                    </a:lnTo>
                    <a:lnTo>
                      <a:pt x="1536" y="1224"/>
                    </a:lnTo>
                    <a:lnTo>
                      <a:pt x="1561" y="1240"/>
                    </a:lnTo>
                    <a:lnTo>
                      <a:pt x="1583" y="1257"/>
                    </a:lnTo>
                    <a:lnTo>
                      <a:pt x="1601" y="1277"/>
                    </a:lnTo>
                    <a:lnTo>
                      <a:pt x="1616" y="1298"/>
                    </a:lnTo>
                    <a:lnTo>
                      <a:pt x="1624" y="1323"/>
                    </a:lnTo>
                    <a:lnTo>
                      <a:pt x="1627" y="1350"/>
                    </a:lnTo>
                    <a:lnTo>
                      <a:pt x="1623" y="1390"/>
                    </a:lnTo>
                    <a:lnTo>
                      <a:pt x="1611" y="1430"/>
                    </a:lnTo>
                    <a:lnTo>
                      <a:pt x="1591" y="1468"/>
                    </a:lnTo>
                    <a:lnTo>
                      <a:pt x="1564" y="1502"/>
                    </a:lnTo>
                    <a:lnTo>
                      <a:pt x="1531" y="1535"/>
                    </a:lnTo>
                    <a:lnTo>
                      <a:pt x="1491" y="1564"/>
                    </a:lnTo>
                    <a:lnTo>
                      <a:pt x="1445" y="1592"/>
                    </a:lnTo>
                    <a:lnTo>
                      <a:pt x="1394" y="1615"/>
                    </a:lnTo>
                    <a:lnTo>
                      <a:pt x="1338" y="1634"/>
                    </a:lnTo>
                    <a:lnTo>
                      <a:pt x="1278" y="1649"/>
                    </a:lnTo>
                    <a:lnTo>
                      <a:pt x="1215" y="1662"/>
                    </a:lnTo>
                    <a:lnTo>
                      <a:pt x="1148" y="1669"/>
                    </a:lnTo>
                    <a:lnTo>
                      <a:pt x="1077" y="1671"/>
                    </a:lnTo>
                    <a:lnTo>
                      <a:pt x="1015" y="1669"/>
                    </a:lnTo>
                    <a:lnTo>
                      <a:pt x="956" y="1663"/>
                    </a:lnTo>
                    <a:lnTo>
                      <a:pt x="956" y="1694"/>
                    </a:lnTo>
                    <a:lnTo>
                      <a:pt x="956" y="1727"/>
                    </a:lnTo>
                    <a:lnTo>
                      <a:pt x="959" y="1764"/>
                    </a:lnTo>
                    <a:lnTo>
                      <a:pt x="964" y="1802"/>
                    </a:lnTo>
                    <a:lnTo>
                      <a:pt x="973" y="1844"/>
                    </a:lnTo>
                    <a:lnTo>
                      <a:pt x="985" y="1885"/>
                    </a:lnTo>
                    <a:lnTo>
                      <a:pt x="1001" y="1926"/>
                    </a:lnTo>
                    <a:lnTo>
                      <a:pt x="1022" y="1966"/>
                    </a:lnTo>
                    <a:lnTo>
                      <a:pt x="1048" y="2004"/>
                    </a:lnTo>
                    <a:lnTo>
                      <a:pt x="1080" y="2039"/>
                    </a:lnTo>
                    <a:lnTo>
                      <a:pt x="1113" y="2070"/>
                    </a:lnTo>
                    <a:lnTo>
                      <a:pt x="1148" y="2095"/>
                    </a:lnTo>
                    <a:lnTo>
                      <a:pt x="1182" y="2115"/>
                    </a:lnTo>
                    <a:lnTo>
                      <a:pt x="1189" y="2118"/>
                    </a:lnTo>
                    <a:lnTo>
                      <a:pt x="1234" y="2139"/>
                    </a:lnTo>
                    <a:lnTo>
                      <a:pt x="1278" y="2154"/>
                    </a:lnTo>
                    <a:lnTo>
                      <a:pt x="1320" y="2164"/>
                    </a:lnTo>
                    <a:lnTo>
                      <a:pt x="1358" y="2170"/>
                    </a:lnTo>
                    <a:lnTo>
                      <a:pt x="1391" y="2173"/>
                    </a:lnTo>
                    <a:lnTo>
                      <a:pt x="1419" y="2175"/>
                    </a:lnTo>
                    <a:lnTo>
                      <a:pt x="1440" y="2173"/>
                    </a:lnTo>
                    <a:lnTo>
                      <a:pt x="1451" y="2173"/>
                    </a:lnTo>
                    <a:lnTo>
                      <a:pt x="1467" y="2175"/>
                    </a:lnTo>
                    <a:lnTo>
                      <a:pt x="1482" y="2183"/>
                    </a:lnTo>
                    <a:lnTo>
                      <a:pt x="1492" y="2195"/>
                    </a:lnTo>
                    <a:lnTo>
                      <a:pt x="1498" y="2212"/>
                    </a:lnTo>
                    <a:lnTo>
                      <a:pt x="1584" y="3037"/>
                    </a:lnTo>
                    <a:lnTo>
                      <a:pt x="1769" y="3037"/>
                    </a:lnTo>
                    <a:lnTo>
                      <a:pt x="1770" y="3036"/>
                    </a:lnTo>
                    <a:lnTo>
                      <a:pt x="1772" y="3036"/>
                    </a:lnTo>
                    <a:lnTo>
                      <a:pt x="1773" y="3035"/>
                    </a:lnTo>
                    <a:lnTo>
                      <a:pt x="1833" y="2237"/>
                    </a:lnTo>
                    <a:lnTo>
                      <a:pt x="1837" y="2215"/>
                    </a:lnTo>
                    <a:lnTo>
                      <a:pt x="1846" y="2194"/>
                    </a:lnTo>
                    <a:lnTo>
                      <a:pt x="1861" y="2177"/>
                    </a:lnTo>
                    <a:lnTo>
                      <a:pt x="1879" y="2164"/>
                    </a:lnTo>
                    <a:lnTo>
                      <a:pt x="1900" y="2155"/>
                    </a:lnTo>
                    <a:lnTo>
                      <a:pt x="1922" y="2152"/>
                    </a:lnTo>
                    <a:lnTo>
                      <a:pt x="2815" y="2152"/>
                    </a:lnTo>
                    <a:lnTo>
                      <a:pt x="2839" y="2155"/>
                    </a:lnTo>
                    <a:lnTo>
                      <a:pt x="2862" y="2164"/>
                    </a:lnTo>
                    <a:lnTo>
                      <a:pt x="2884" y="2176"/>
                    </a:lnTo>
                    <a:lnTo>
                      <a:pt x="2903" y="2192"/>
                    </a:lnTo>
                    <a:lnTo>
                      <a:pt x="2917" y="2212"/>
                    </a:lnTo>
                    <a:lnTo>
                      <a:pt x="2920" y="2216"/>
                    </a:lnTo>
                    <a:lnTo>
                      <a:pt x="2927" y="2226"/>
                    </a:lnTo>
                    <a:lnTo>
                      <a:pt x="2938" y="2239"/>
                    </a:lnTo>
                    <a:lnTo>
                      <a:pt x="2953" y="2256"/>
                    </a:lnTo>
                    <a:lnTo>
                      <a:pt x="2975" y="2274"/>
                    </a:lnTo>
                    <a:lnTo>
                      <a:pt x="3001" y="2294"/>
                    </a:lnTo>
                    <a:lnTo>
                      <a:pt x="3033" y="2315"/>
                    </a:lnTo>
                    <a:lnTo>
                      <a:pt x="3070" y="2334"/>
                    </a:lnTo>
                    <a:lnTo>
                      <a:pt x="3083" y="2337"/>
                    </a:lnTo>
                    <a:lnTo>
                      <a:pt x="3092" y="2344"/>
                    </a:lnTo>
                    <a:lnTo>
                      <a:pt x="3131" y="2358"/>
                    </a:lnTo>
                    <a:lnTo>
                      <a:pt x="3172" y="2369"/>
                    </a:lnTo>
                    <a:lnTo>
                      <a:pt x="3186" y="2374"/>
                    </a:lnTo>
                    <a:lnTo>
                      <a:pt x="3197" y="2384"/>
                    </a:lnTo>
                    <a:lnTo>
                      <a:pt x="3204" y="2396"/>
                    </a:lnTo>
                    <a:lnTo>
                      <a:pt x="3207" y="2412"/>
                    </a:lnTo>
                    <a:lnTo>
                      <a:pt x="3207" y="3041"/>
                    </a:lnTo>
                    <a:lnTo>
                      <a:pt x="3409" y="3041"/>
                    </a:lnTo>
                    <a:lnTo>
                      <a:pt x="3412" y="3041"/>
                    </a:lnTo>
                    <a:lnTo>
                      <a:pt x="3413" y="3040"/>
                    </a:lnTo>
                    <a:lnTo>
                      <a:pt x="3416" y="3037"/>
                    </a:lnTo>
                    <a:lnTo>
                      <a:pt x="3416" y="3036"/>
                    </a:lnTo>
                    <a:lnTo>
                      <a:pt x="3528" y="2374"/>
                    </a:lnTo>
                    <a:lnTo>
                      <a:pt x="3530" y="2356"/>
                    </a:lnTo>
                    <a:lnTo>
                      <a:pt x="3532" y="2336"/>
                    </a:lnTo>
                    <a:lnTo>
                      <a:pt x="3533" y="2314"/>
                    </a:lnTo>
                    <a:lnTo>
                      <a:pt x="3533" y="2296"/>
                    </a:lnTo>
                    <a:lnTo>
                      <a:pt x="3518" y="1294"/>
                    </a:lnTo>
                    <a:lnTo>
                      <a:pt x="3518" y="1277"/>
                    </a:lnTo>
                    <a:lnTo>
                      <a:pt x="3514" y="1259"/>
                    </a:lnTo>
                    <a:lnTo>
                      <a:pt x="3510" y="1240"/>
                    </a:lnTo>
                    <a:lnTo>
                      <a:pt x="3506" y="1225"/>
                    </a:lnTo>
                    <a:lnTo>
                      <a:pt x="3504" y="1221"/>
                    </a:lnTo>
                    <a:lnTo>
                      <a:pt x="3499" y="1210"/>
                    </a:lnTo>
                    <a:lnTo>
                      <a:pt x="3492" y="1193"/>
                    </a:lnTo>
                    <a:lnTo>
                      <a:pt x="3481" y="1171"/>
                    </a:lnTo>
                    <a:lnTo>
                      <a:pt x="3467" y="1146"/>
                    </a:lnTo>
                    <a:lnTo>
                      <a:pt x="3450" y="1119"/>
                    </a:lnTo>
                    <a:lnTo>
                      <a:pt x="3431" y="1090"/>
                    </a:lnTo>
                    <a:lnTo>
                      <a:pt x="3408" y="1061"/>
                    </a:lnTo>
                    <a:lnTo>
                      <a:pt x="3383" y="1032"/>
                    </a:lnTo>
                    <a:lnTo>
                      <a:pt x="3355" y="1006"/>
                    </a:lnTo>
                    <a:lnTo>
                      <a:pt x="3324" y="981"/>
                    </a:lnTo>
                    <a:lnTo>
                      <a:pt x="3291" y="960"/>
                    </a:lnTo>
                    <a:lnTo>
                      <a:pt x="3253" y="945"/>
                    </a:lnTo>
                    <a:lnTo>
                      <a:pt x="3215" y="936"/>
                    </a:lnTo>
                    <a:lnTo>
                      <a:pt x="1474" y="936"/>
                    </a:lnTo>
                    <a:lnTo>
                      <a:pt x="1473" y="936"/>
                    </a:lnTo>
                    <a:close/>
                    <a:moveTo>
                      <a:pt x="1313" y="412"/>
                    </a:moveTo>
                    <a:lnTo>
                      <a:pt x="1255" y="435"/>
                    </a:lnTo>
                    <a:lnTo>
                      <a:pt x="1194" y="450"/>
                    </a:lnTo>
                    <a:lnTo>
                      <a:pt x="1134" y="460"/>
                    </a:lnTo>
                    <a:lnTo>
                      <a:pt x="1073" y="464"/>
                    </a:lnTo>
                    <a:lnTo>
                      <a:pt x="1008" y="460"/>
                    </a:lnTo>
                    <a:lnTo>
                      <a:pt x="948" y="450"/>
                    </a:lnTo>
                    <a:lnTo>
                      <a:pt x="891" y="435"/>
                    </a:lnTo>
                    <a:lnTo>
                      <a:pt x="836" y="413"/>
                    </a:lnTo>
                    <a:lnTo>
                      <a:pt x="831" y="420"/>
                    </a:lnTo>
                    <a:lnTo>
                      <a:pt x="731" y="501"/>
                    </a:lnTo>
                    <a:lnTo>
                      <a:pt x="724" y="510"/>
                    </a:lnTo>
                    <a:lnTo>
                      <a:pt x="719" y="522"/>
                    </a:lnTo>
                    <a:lnTo>
                      <a:pt x="718" y="534"/>
                    </a:lnTo>
                    <a:lnTo>
                      <a:pt x="735" y="699"/>
                    </a:lnTo>
                    <a:lnTo>
                      <a:pt x="752" y="682"/>
                    </a:lnTo>
                    <a:lnTo>
                      <a:pt x="770" y="670"/>
                    </a:lnTo>
                    <a:lnTo>
                      <a:pt x="792" y="661"/>
                    </a:lnTo>
                    <a:lnTo>
                      <a:pt x="815" y="659"/>
                    </a:lnTo>
                    <a:lnTo>
                      <a:pt x="843" y="663"/>
                    </a:lnTo>
                    <a:lnTo>
                      <a:pt x="866" y="672"/>
                    </a:lnTo>
                    <a:lnTo>
                      <a:pt x="887" y="689"/>
                    </a:lnTo>
                    <a:lnTo>
                      <a:pt x="902" y="710"/>
                    </a:lnTo>
                    <a:lnTo>
                      <a:pt x="913" y="733"/>
                    </a:lnTo>
                    <a:lnTo>
                      <a:pt x="916" y="761"/>
                    </a:lnTo>
                    <a:lnTo>
                      <a:pt x="913" y="787"/>
                    </a:lnTo>
                    <a:lnTo>
                      <a:pt x="902" y="812"/>
                    </a:lnTo>
                    <a:lnTo>
                      <a:pt x="887" y="832"/>
                    </a:lnTo>
                    <a:lnTo>
                      <a:pt x="866" y="847"/>
                    </a:lnTo>
                    <a:lnTo>
                      <a:pt x="843" y="857"/>
                    </a:lnTo>
                    <a:lnTo>
                      <a:pt x="815" y="861"/>
                    </a:lnTo>
                    <a:lnTo>
                      <a:pt x="792" y="858"/>
                    </a:lnTo>
                    <a:lnTo>
                      <a:pt x="770" y="850"/>
                    </a:lnTo>
                    <a:lnTo>
                      <a:pt x="751" y="838"/>
                    </a:lnTo>
                    <a:lnTo>
                      <a:pt x="784" y="1131"/>
                    </a:lnTo>
                    <a:lnTo>
                      <a:pt x="784" y="1134"/>
                    </a:lnTo>
                    <a:lnTo>
                      <a:pt x="786" y="1135"/>
                    </a:lnTo>
                    <a:lnTo>
                      <a:pt x="788" y="1137"/>
                    </a:lnTo>
                    <a:lnTo>
                      <a:pt x="1349" y="1137"/>
                    </a:lnTo>
                    <a:lnTo>
                      <a:pt x="1350" y="1135"/>
                    </a:lnTo>
                    <a:lnTo>
                      <a:pt x="1353" y="1134"/>
                    </a:lnTo>
                    <a:lnTo>
                      <a:pt x="1354" y="1133"/>
                    </a:lnTo>
                    <a:lnTo>
                      <a:pt x="1356" y="1130"/>
                    </a:lnTo>
                    <a:lnTo>
                      <a:pt x="1400" y="846"/>
                    </a:lnTo>
                    <a:lnTo>
                      <a:pt x="1374" y="857"/>
                    </a:lnTo>
                    <a:lnTo>
                      <a:pt x="1345" y="861"/>
                    </a:lnTo>
                    <a:lnTo>
                      <a:pt x="1318" y="857"/>
                    </a:lnTo>
                    <a:lnTo>
                      <a:pt x="1294" y="847"/>
                    </a:lnTo>
                    <a:lnTo>
                      <a:pt x="1273" y="832"/>
                    </a:lnTo>
                    <a:lnTo>
                      <a:pt x="1258" y="812"/>
                    </a:lnTo>
                    <a:lnTo>
                      <a:pt x="1248" y="787"/>
                    </a:lnTo>
                    <a:lnTo>
                      <a:pt x="1244" y="761"/>
                    </a:lnTo>
                    <a:lnTo>
                      <a:pt x="1248" y="733"/>
                    </a:lnTo>
                    <a:lnTo>
                      <a:pt x="1258" y="710"/>
                    </a:lnTo>
                    <a:lnTo>
                      <a:pt x="1273" y="689"/>
                    </a:lnTo>
                    <a:lnTo>
                      <a:pt x="1294" y="672"/>
                    </a:lnTo>
                    <a:lnTo>
                      <a:pt x="1318" y="663"/>
                    </a:lnTo>
                    <a:lnTo>
                      <a:pt x="1345" y="659"/>
                    </a:lnTo>
                    <a:lnTo>
                      <a:pt x="1368" y="661"/>
                    </a:lnTo>
                    <a:lnTo>
                      <a:pt x="1389" y="668"/>
                    </a:lnTo>
                    <a:lnTo>
                      <a:pt x="1407" y="681"/>
                    </a:lnTo>
                    <a:lnTo>
                      <a:pt x="1422" y="696"/>
                    </a:lnTo>
                    <a:lnTo>
                      <a:pt x="1447" y="534"/>
                    </a:lnTo>
                    <a:lnTo>
                      <a:pt x="1447" y="525"/>
                    </a:lnTo>
                    <a:lnTo>
                      <a:pt x="1442" y="514"/>
                    </a:lnTo>
                    <a:lnTo>
                      <a:pt x="1436" y="506"/>
                    </a:lnTo>
                    <a:lnTo>
                      <a:pt x="1318" y="417"/>
                    </a:lnTo>
                    <a:lnTo>
                      <a:pt x="1316" y="415"/>
                    </a:lnTo>
                    <a:lnTo>
                      <a:pt x="1313" y="412"/>
                    </a:lnTo>
                    <a:close/>
                    <a:moveTo>
                      <a:pt x="1775" y="393"/>
                    </a:moveTo>
                    <a:lnTo>
                      <a:pt x="1744" y="394"/>
                    </a:lnTo>
                    <a:lnTo>
                      <a:pt x="1715" y="399"/>
                    </a:lnTo>
                    <a:lnTo>
                      <a:pt x="1688" y="409"/>
                    </a:lnTo>
                    <a:lnTo>
                      <a:pt x="1660" y="423"/>
                    </a:lnTo>
                    <a:lnTo>
                      <a:pt x="1633" y="441"/>
                    </a:lnTo>
                    <a:lnTo>
                      <a:pt x="1608" y="460"/>
                    </a:lnTo>
                    <a:lnTo>
                      <a:pt x="1586" y="484"/>
                    </a:lnTo>
                    <a:lnTo>
                      <a:pt x="1567" y="506"/>
                    </a:lnTo>
                    <a:lnTo>
                      <a:pt x="1553" y="529"/>
                    </a:lnTo>
                    <a:lnTo>
                      <a:pt x="1543" y="552"/>
                    </a:lnTo>
                    <a:lnTo>
                      <a:pt x="1540" y="573"/>
                    </a:lnTo>
                    <a:lnTo>
                      <a:pt x="1544" y="594"/>
                    </a:lnTo>
                    <a:lnTo>
                      <a:pt x="1553" y="616"/>
                    </a:lnTo>
                    <a:lnTo>
                      <a:pt x="1565" y="638"/>
                    </a:lnTo>
                    <a:lnTo>
                      <a:pt x="1582" y="660"/>
                    </a:lnTo>
                    <a:lnTo>
                      <a:pt x="1602" y="681"/>
                    </a:lnTo>
                    <a:lnTo>
                      <a:pt x="1635" y="705"/>
                    </a:lnTo>
                    <a:lnTo>
                      <a:pt x="1671" y="726"/>
                    </a:lnTo>
                    <a:lnTo>
                      <a:pt x="1707" y="740"/>
                    </a:lnTo>
                    <a:lnTo>
                      <a:pt x="1746" y="748"/>
                    </a:lnTo>
                    <a:lnTo>
                      <a:pt x="1783" y="748"/>
                    </a:lnTo>
                    <a:lnTo>
                      <a:pt x="1820" y="744"/>
                    </a:lnTo>
                    <a:lnTo>
                      <a:pt x="1859" y="733"/>
                    </a:lnTo>
                    <a:lnTo>
                      <a:pt x="1897" y="718"/>
                    </a:lnTo>
                    <a:lnTo>
                      <a:pt x="1937" y="700"/>
                    </a:lnTo>
                    <a:lnTo>
                      <a:pt x="1974" y="679"/>
                    </a:lnTo>
                    <a:lnTo>
                      <a:pt x="2009" y="656"/>
                    </a:lnTo>
                    <a:lnTo>
                      <a:pt x="2038" y="632"/>
                    </a:lnTo>
                    <a:lnTo>
                      <a:pt x="2061" y="610"/>
                    </a:lnTo>
                    <a:lnTo>
                      <a:pt x="2078" y="588"/>
                    </a:lnTo>
                    <a:lnTo>
                      <a:pt x="2082" y="583"/>
                    </a:lnTo>
                    <a:lnTo>
                      <a:pt x="2083" y="577"/>
                    </a:lnTo>
                    <a:lnTo>
                      <a:pt x="2085" y="574"/>
                    </a:lnTo>
                    <a:lnTo>
                      <a:pt x="2085" y="572"/>
                    </a:lnTo>
                    <a:lnTo>
                      <a:pt x="2086" y="569"/>
                    </a:lnTo>
                    <a:lnTo>
                      <a:pt x="2085" y="569"/>
                    </a:lnTo>
                    <a:lnTo>
                      <a:pt x="2074" y="548"/>
                    </a:lnTo>
                    <a:lnTo>
                      <a:pt x="2056" y="526"/>
                    </a:lnTo>
                    <a:lnTo>
                      <a:pt x="2032" y="504"/>
                    </a:lnTo>
                    <a:lnTo>
                      <a:pt x="2005" y="481"/>
                    </a:lnTo>
                    <a:lnTo>
                      <a:pt x="1973" y="457"/>
                    </a:lnTo>
                    <a:lnTo>
                      <a:pt x="1937" y="437"/>
                    </a:lnTo>
                    <a:lnTo>
                      <a:pt x="1899" y="419"/>
                    </a:lnTo>
                    <a:lnTo>
                      <a:pt x="1859" y="405"/>
                    </a:lnTo>
                    <a:lnTo>
                      <a:pt x="1817" y="397"/>
                    </a:lnTo>
                    <a:lnTo>
                      <a:pt x="1775" y="393"/>
                    </a:lnTo>
                    <a:close/>
                    <a:moveTo>
                      <a:pt x="396" y="393"/>
                    </a:moveTo>
                    <a:lnTo>
                      <a:pt x="354" y="397"/>
                    </a:lnTo>
                    <a:lnTo>
                      <a:pt x="312" y="405"/>
                    </a:lnTo>
                    <a:lnTo>
                      <a:pt x="272" y="419"/>
                    </a:lnTo>
                    <a:lnTo>
                      <a:pt x="234" y="437"/>
                    </a:lnTo>
                    <a:lnTo>
                      <a:pt x="198" y="457"/>
                    </a:lnTo>
                    <a:lnTo>
                      <a:pt x="166" y="481"/>
                    </a:lnTo>
                    <a:lnTo>
                      <a:pt x="139" y="504"/>
                    </a:lnTo>
                    <a:lnTo>
                      <a:pt x="115" y="526"/>
                    </a:lnTo>
                    <a:lnTo>
                      <a:pt x="97" y="548"/>
                    </a:lnTo>
                    <a:lnTo>
                      <a:pt x="86" y="569"/>
                    </a:lnTo>
                    <a:lnTo>
                      <a:pt x="85" y="569"/>
                    </a:lnTo>
                    <a:lnTo>
                      <a:pt x="86" y="572"/>
                    </a:lnTo>
                    <a:lnTo>
                      <a:pt x="86" y="574"/>
                    </a:lnTo>
                    <a:lnTo>
                      <a:pt x="88" y="577"/>
                    </a:lnTo>
                    <a:lnTo>
                      <a:pt x="89" y="583"/>
                    </a:lnTo>
                    <a:lnTo>
                      <a:pt x="93" y="588"/>
                    </a:lnTo>
                    <a:lnTo>
                      <a:pt x="110" y="610"/>
                    </a:lnTo>
                    <a:lnTo>
                      <a:pt x="133" y="632"/>
                    </a:lnTo>
                    <a:lnTo>
                      <a:pt x="162" y="656"/>
                    </a:lnTo>
                    <a:lnTo>
                      <a:pt x="197" y="679"/>
                    </a:lnTo>
                    <a:lnTo>
                      <a:pt x="234" y="700"/>
                    </a:lnTo>
                    <a:lnTo>
                      <a:pt x="274" y="718"/>
                    </a:lnTo>
                    <a:lnTo>
                      <a:pt x="312" y="733"/>
                    </a:lnTo>
                    <a:lnTo>
                      <a:pt x="351" y="744"/>
                    </a:lnTo>
                    <a:lnTo>
                      <a:pt x="388" y="748"/>
                    </a:lnTo>
                    <a:lnTo>
                      <a:pt x="425" y="748"/>
                    </a:lnTo>
                    <a:lnTo>
                      <a:pt x="464" y="740"/>
                    </a:lnTo>
                    <a:lnTo>
                      <a:pt x="500" y="726"/>
                    </a:lnTo>
                    <a:lnTo>
                      <a:pt x="536" y="705"/>
                    </a:lnTo>
                    <a:lnTo>
                      <a:pt x="569" y="681"/>
                    </a:lnTo>
                    <a:lnTo>
                      <a:pt x="589" y="660"/>
                    </a:lnTo>
                    <a:lnTo>
                      <a:pt x="606" y="638"/>
                    </a:lnTo>
                    <a:lnTo>
                      <a:pt x="618" y="616"/>
                    </a:lnTo>
                    <a:lnTo>
                      <a:pt x="627" y="594"/>
                    </a:lnTo>
                    <a:lnTo>
                      <a:pt x="631" y="573"/>
                    </a:lnTo>
                    <a:lnTo>
                      <a:pt x="628" y="552"/>
                    </a:lnTo>
                    <a:lnTo>
                      <a:pt x="618" y="529"/>
                    </a:lnTo>
                    <a:lnTo>
                      <a:pt x="605" y="506"/>
                    </a:lnTo>
                    <a:lnTo>
                      <a:pt x="585" y="484"/>
                    </a:lnTo>
                    <a:lnTo>
                      <a:pt x="563" y="460"/>
                    </a:lnTo>
                    <a:lnTo>
                      <a:pt x="538" y="441"/>
                    </a:lnTo>
                    <a:lnTo>
                      <a:pt x="511" y="423"/>
                    </a:lnTo>
                    <a:lnTo>
                      <a:pt x="483" y="409"/>
                    </a:lnTo>
                    <a:lnTo>
                      <a:pt x="456" y="399"/>
                    </a:lnTo>
                    <a:lnTo>
                      <a:pt x="427" y="394"/>
                    </a:lnTo>
                    <a:lnTo>
                      <a:pt x="396" y="393"/>
                    </a:lnTo>
                    <a:close/>
                    <a:moveTo>
                      <a:pt x="607" y="0"/>
                    </a:moveTo>
                    <a:lnTo>
                      <a:pt x="624" y="5"/>
                    </a:lnTo>
                    <a:lnTo>
                      <a:pt x="636" y="16"/>
                    </a:lnTo>
                    <a:lnTo>
                      <a:pt x="643" y="33"/>
                    </a:lnTo>
                    <a:lnTo>
                      <a:pt x="660" y="88"/>
                    </a:lnTo>
                    <a:lnTo>
                      <a:pt x="679" y="136"/>
                    </a:lnTo>
                    <a:lnTo>
                      <a:pt x="702" y="179"/>
                    </a:lnTo>
                    <a:lnTo>
                      <a:pt x="727" y="218"/>
                    </a:lnTo>
                    <a:lnTo>
                      <a:pt x="756" y="251"/>
                    </a:lnTo>
                    <a:lnTo>
                      <a:pt x="785" y="278"/>
                    </a:lnTo>
                    <a:lnTo>
                      <a:pt x="815" y="302"/>
                    </a:lnTo>
                    <a:lnTo>
                      <a:pt x="847" y="321"/>
                    </a:lnTo>
                    <a:lnTo>
                      <a:pt x="880" y="337"/>
                    </a:lnTo>
                    <a:lnTo>
                      <a:pt x="912" y="350"/>
                    </a:lnTo>
                    <a:lnTo>
                      <a:pt x="942" y="359"/>
                    </a:lnTo>
                    <a:lnTo>
                      <a:pt x="973" y="366"/>
                    </a:lnTo>
                    <a:lnTo>
                      <a:pt x="1001" y="372"/>
                    </a:lnTo>
                    <a:lnTo>
                      <a:pt x="1028" y="375"/>
                    </a:lnTo>
                    <a:lnTo>
                      <a:pt x="1051" y="376"/>
                    </a:lnTo>
                    <a:lnTo>
                      <a:pt x="1073" y="377"/>
                    </a:lnTo>
                    <a:lnTo>
                      <a:pt x="1110" y="376"/>
                    </a:lnTo>
                    <a:lnTo>
                      <a:pt x="1149" y="372"/>
                    </a:lnTo>
                    <a:lnTo>
                      <a:pt x="1188" y="364"/>
                    </a:lnTo>
                    <a:lnTo>
                      <a:pt x="1226" y="354"/>
                    </a:lnTo>
                    <a:lnTo>
                      <a:pt x="1265" y="340"/>
                    </a:lnTo>
                    <a:lnTo>
                      <a:pt x="1302" y="322"/>
                    </a:lnTo>
                    <a:lnTo>
                      <a:pt x="1338" y="300"/>
                    </a:lnTo>
                    <a:lnTo>
                      <a:pt x="1371" y="275"/>
                    </a:lnTo>
                    <a:lnTo>
                      <a:pt x="1401" y="246"/>
                    </a:lnTo>
                    <a:lnTo>
                      <a:pt x="1430" y="213"/>
                    </a:lnTo>
                    <a:lnTo>
                      <a:pt x="1454" y="176"/>
                    </a:lnTo>
                    <a:lnTo>
                      <a:pt x="1474" y="133"/>
                    </a:lnTo>
                    <a:lnTo>
                      <a:pt x="1491" y="87"/>
                    </a:lnTo>
                    <a:lnTo>
                      <a:pt x="1502" y="36"/>
                    </a:lnTo>
                    <a:lnTo>
                      <a:pt x="1507" y="19"/>
                    </a:lnTo>
                    <a:lnTo>
                      <a:pt x="1520" y="8"/>
                    </a:lnTo>
                    <a:lnTo>
                      <a:pt x="1535" y="0"/>
                    </a:lnTo>
                    <a:lnTo>
                      <a:pt x="1551" y="0"/>
                    </a:lnTo>
                    <a:lnTo>
                      <a:pt x="1568" y="5"/>
                    </a:lnTo>
                    <a:lnTo>
                      <a:pt x="1580" y="16"/>
                    </a:lnTo>
                    <a:lnTo>
                      <a:pt x="1587" y="31"/>
                    </a:lnTo>
                    <a:lnTo>
                      <a:pt x="1587" y="49"/>
                    </a:lnTo>
                    <a:lnTo>
                      <a:pt x="1576" y="102"/>
                    </a:lnTo>
                    <a:lnTo>
                      <a:pt x="1561" y="150"/>
                    </a:lnTo>
                    <a:lnTo>
                      <a:pt x="1542" y="195"/>
                    </a:lnTo>
                    <a:lnTo>
                      <a:pt x="1518" y="237"/>
                    </a:lnTo>
                    <a:lnTo>
                      <a:pt x="1492" y="274"/>
                    </a:lnTo>
                    <a:lnTo>
                      <a:pt x="1462" y="308"/>
                    </a:lnTo>
                    <a:lnTo>
                      <a:pt x="1430" y="339"/>
                    </a:lnTo>
                    <a:lnTo>
                      <a:pt x="1394" y="366"/>
                    </a:lnTo>
                    <a:lnTo>
                      <a:pt x="1488" y="437"/>
                    </a:lnTo>
                    <a:lnTo>
                      <a:pt x="1495" y="442"/>
                    </a:lnTo>
                    <a:lnTo>
                      <a:pt x="1502" y="449"/>
                    </a:lnTo>
                    <a:lnTo>
                      <a:pt x="1533" y="412"/>
                    </a:lnTo>
                    <a:lnTo>
                      <a:pt x="1571" y="379"/>
                    </a:lnTo>
                    <a:lnTo>
                      <a:pt x="1611" y="351"/>
                    </a:lnTo>
                    <a:lnTo>
                      <a:pt x="1653" y="329"/>
                    </a:lnTo>
                    <a:lnTo>
                      <a:pt x="1695" y="315"/>
                    </a:lnTo>
                    <a:lnTo>
                      <a:pt x="1746" y="307"/>
                    </a:lnTo>
                    <a:lnTo>
                      <a:pt x="1797" y="307"/>
                    </a:lnTo>
                    <a:lnTo>
                      <a:pt x="1848" y="314"/>
                    </a:lnTo>
                    <a:lnTo>
                      <a:pt x="1897" y="326"/>
                    </a:lnTo>
                    <a:lnTo>
                      <a:pt x="1944" y="344"/>
                    </a:lnTo>
                    <a:lnTo>
                      <a:pt x="1988" y="366"/>
                    </a:lnTo>
                    <a:lnTo>
                      <a:pt x="2030" y="393"/>
                    </a:lnTo>
                    <a:lnTo>
                      <a:pt x="2067" y="420"/>
                    </a:lnTo>
                    <a:lnTo>
                      <a:pt x="2100" y="448"/>
                    </a:lnTo>
                    <a:lnTo>
                      <a:pt x="2127" y="477"/>
                    </a:lnTo>
                    <a:lnTo>
                      <a:pt x="2149" y="506"/>
                    </a:lnTo>
                    <a:lnTo>
                      <a:pt x="2165" y="532"/>
                    </a:lnTo>
                    <a:lnTo>
                      <a:pt x="2169" y="547"/>
                    </a:lnTo>
                    <a:lnTo>
                      <a:pt x="2172" y="563"/>
                    </a:lnTo>
                    <a:lnTo>
                      <a:pt x="2172" y="584"/>
                    </a:lnTo>
                    <a:lnTo>
                      <a:pt x="2166" y="608"/>
                    </a:lnTo>
                    <a:lnTo>
                      <a:pt x="2154" y="632"/>
                    </a:lnTo>
                    <a:lnTo>
                      <a:pt x="2130" y="664"/>
                    </a:lnTo>
                    <a:lnTo>
                      <a:pt x="2098" y="696"/>
                    </a:lnTo>
                    <a:lnTo>
                      <a:pt x="2061" y="725"/>
                    </a:lnTo>
                    <a:lnTo>
                      <a:pt x="2020" y="754"/>
                    </a:lnTo>
                    <a:lnTo>
                      <a:pt x="1974" y="778"/>
                    </a:lnTo>
                    <a:lnTo>
                      <a:pt x="1928" y="800"/>
                    </a:lnTo>
                    <a:lnTo>
                      <a:pt x="1879" y="817"/>
                    </a:lnTo>
                    <a:lnTo>
                      <a:pt x="1833" y="829"/>
                    </a:lnTo>
                    <a:lnTo>
                      <a:pt x="1788" y="835"/>
                    </a:lnTo>
                    <a:lnTo>
                      <a:pt x="1770" y="836"/>
                    </a:lnTo>
                    <a:lnTo>
                      <a:pt x="1722" y="832"/>
                    </a:lnTo>
                    <a:lnTo>
                      <a:pt x="1674" y="821"/>
                    </a:lnTo>
                    <a:lnTo>
                      <a:pt x="1629" y="802"/>
                    </a:lnTo>
                    <a:lnTo>
                      <a:pt x="1584" y="777"/>
                    </a:lnTo>
                    <a:lnTo>
                      <a:pt x="1544" y="745"/>
                    </a:lnTo>
                    <a:lnTo>
                      <a:pt x="1525" y="726"/>
                    </a:lnTo>
                    <a:lnTo>
                      <a:pt x="1509" y="707"/>
                    </a:lnTo>
                    <a:lnTo>
                      <a:pt x="1487" y="849"/>
                    </a:lnTo>
                    <a:lnTo>
                      <a:pt x="3218" y="849"/>
                    </a:lnTo>
                    <a:lnTo>
                      <a:pt x="3223" y="850"/>
                    </a:lnTo>
                    <a:lnTo>
                      <a:pt x="3230" y="849"/>
                    </a:lnTo>
                    <a:lnTo>
                      <a:pt x="3302" y="849"/>
                    </a:lnTo>
                    <a:lnTo>
                      <a:pt x="3368" y="850"/>
                    </a:lnTo>
                    <a:lnTo>
                      <a:pt x="3426" y="853"/>
                    </a:lnTo>
                    <a:lnTo>
                      <a:pt x="3478" y="856"/>
                    </a:lnTo>
                    <a:lnTo>
                      <a:pt x="3524" y="861"/>
                    </a:lnTo>
                    <a:lnTo>
                      <a:pt x="3564" y="868"/>
                    </a:lnTo>
                    <a:lnTo>
                      <a:pt x="3599" y="875"/>
                    </a:lnTo>
                    <a:lnTo>
                      <a:pt x="3631" y="883"/>
                    </a:lnTo>
                    <a:lnTo>
                      <a:pt x="3659" y="891"/>
                    </a:lnTo>
                    <a:lnTo>
                      <a:pt x="3683" y="901"/>
                    </a:lnTo>
                    <a:lnTo>
                      <a:pt x="3704" y="911"/>
                    </a:lnTo>
                    <a:lnTo>
                      <a:pt x="3723" y="922"/>
                    </a:lnTo>
                    <a:lnTo>
                      <a:pt x="3741" y="933"/>
                    </a:lnTo>
                    <a:lnTo>
                      <a:pt x="3758" y="944"/>
                    </a:lnTo>
                    <a:lnTo>
                      <a:pt x="3774" y="955"/>
                    </a:lnTo>
                    <a:lnTo>
                      <a:pt x="3791" y="966"/>
                    </a:lnTo>
                    <a:lnTo>
                      <a:pt x="3841" y="1003"/>
                    </a:lnTo>
                    <a:lnTo>
                      <a:pt x="3880" y="1042"/>
                    </a:lnTo>
                    <a:lnTo>
                      <a:pt x="3914" y="1082"/>
                    </a:lnTo>
                    <a:lnTo>
                      <a:pt x="3940" y="1123"/>
                    </a:lnTo>
                    <a:lnTo>
                      <a:pt x="3959" y="1166"/>
                    </a:lnTo>
                    <a:lnTo>
                      <a:pt x="3971" y="1208"/>
                    </a:lnTo>
                    <a:lnTo>
                      <a:pt x="3980" y="1253"/>
                    </a:lnTo>
                    <a:lnTo>
                      <a:pt x="3982" y="1297"/>
                    </a:lnTo>
                    <a:lnTo>
                      <a:pt x="3982" y="1342"/>
                    </a:lnTo>
                    <a:lnTo>
                      <a:pt x="3978" y="1386"/>
                    </a:lnTo>
                    <a:lnTo>
                      <a:pt x="3971" y="1430"/>
                    </a:lnTo>
                    <a:lnTo>
                      <a:pt x="3962" y="1474"/>
                    </a:lnTo>
                    <a:lnTo>
                      <a:pt x="3951" y="1517"/>
                    </a:lnTo>
                    <a:lnTo>
                      <a:pt x="3940" y="1560"/>
                    </a:lnTo>
                    <a:lnTo>
                      <a:pt x="3929" y="1600"/>
                    </a:lnTo>
                    <a:lnTo>
                      <a:pt x="3916" y="1641"/>
                    </a:lnTo>
                    <a:lnTo>
                      <a:pt x="3905" y="1683"/>
                    </a:lnTo>
                    <a:lnTo>
                      <a:pt x="3896" y="1721"/>
                    </a:lnTo>
                    <a:lnTo>
                      <a:pt x="3889" y="1760"/>
                    </a:lnTo>
                    <a:lnTo>
                      <a:pt x="3883" y="1796"/>
                    </a:lnTo>
                    <a:lnTo>
                      <a:pt x="3883" y="1830"/>
                    </a:lnTo>
                    <a:lnTo>
                      <a:pt x="3886" y="1862"/>
                    </a:lnTo>
                    <a:lnTo>
                      <a:pt x="3894" y="1891"/>
                    </a:lnTo>
                    <a:lnTo>
                      <a:pt x="3897" y="1907"/>
                    </a:lnTo>
                    <a:lnTo>
                      <a:pt x="3894" y="1924"/>
                    </a:lnTo>
                    <a:lnTo>
                      <a:pt x="3885" y="1937"/>
                    </a:lnTo>
                    <a:lnTo>
                      <a:pt x="3869" y="1947"/>
                    </a:lnTo>
                    <a:lnTo>
                      <a:pt x="3863" y="1950"/>
                    </a:lnTo>
                    <a:lnTo>
                      <a:pt x="3854" y="1950"/>
                    </a:lnTo>
                    <a:lnTo>
                      <a:pt x="3838" y="1947"/>
                    </a:lnTo>
                    <a:lnTo>
                      <a:pt x="3824" y="1937"/>
                    </a:lnTo>
                    <a:lnTo>
                      <a:pt x="3814" y="1922"/>
                    </a:lnTo>
                    <a:lnTo>
                      <a:pt x="3802" y="1884"/>
                    </a:lnTo>
                    <a:lnTo>
                      <a:pt x="3796" y="1844"/>
                    </a:lnTo>
                    <a:lnTo>
                      <a:pt x="3796" y="1801"/>
                    </a:lnTo>
                    <a:lnTo>
                      <a:pt x="3801" y="1758"/>
                    </a:lnTo>
                    <a:lnTo>
                      <a:pt x="3809" y="1714"/>
                    </a:lnTo>
                    <a:lnTo>
                      <a:pt x="3818" y="1669"/>
                    </a:lnTo>
                    <a:lnTo>
                      <a:pt x="3831" y="1623"/>
                    </a:lnTo>
                    <a:lnTo>
                      <a:pt x="3845" y="1576"/>
                    </a:lnTo>
                    <a:lnTo>
                      <a:pt x="3857" y="1534"/>
                    </a:lnTo>
                    <a:lnTo>
                      <a:pt x="3868" y="1491"/>
                    </a:lnTo>
                    <a:lnTo>
                      <a:pt x="3879" y="1448"/>
                    </a:lnTo>
                    <a:lnTo>
                      <a:pt x="3887" y="1407"/>
                    </a:lnTo>
                    <a:lnTo>
                      <a:pt x="3894" y="1366"/>
                    </a:lnTo>
                    <a:lnTo>
                      <a:pt x="3897" y="1326"/>
                    </a:lnTo>
                    <a:lnTo>
                      <a:pt x="3897" y="1286"/>
                    </a:lnTo>
                    <a:lnTo>
                      <a:pt x="3892" y="1247"/>
                    </a:lnTo>
                    <a:lnTo>
                      <a:pt x="3882" y="1210"/>
                    </a:lnTo>
                    <a:lnTo>
                      <a:pt x="3867" y="1173"/>
                    </a:lnTo>
                    <a:lnTo>
                      <a:pt x="3846" y="1137"/>
                    </a:lnTo>
                    <a:lnTo>
                      <a:pt x="3818" y="1102"/>
                    </a:lnTo>
                    <a:lnTo>
                      <a:pt x="3784" y="1069"/>
                    </a:lnTo>
                    <a:lnTo>
                      <a:pt x="3743" y="1038"/>
                    </a:lnTo>
                    <a:lnTo>
                      <a:pt x="3725" y="1027"/>
                    </a:lnTo>
                    <a:lnTo>
                      <a:pt x="3708" y="1014"/>
                    </a:lnTo>
                    <a:lnTo>
                      <a:pt x="3690" y="1003"/>
                    </a:lnTo>
                    <a:lnTo>
                      <a:pt x="3670" y="992"/>
                    </a:lnTo>
                    <a:lnTo>
                      <a:pt x="3648" y="981"/>
                    </a:lnTo>
                    <a:lnTo>
                      <a:pt x="3623" y="971"/>
                    </a:lnTo>
                    <a:lnTo>
                      <a:pt x="3592" y="962"/>
                    </a:lnTo>
                    <a:lnTo>
                      <a:pt x="3557" y="955"/>
                    </a:lnTo>
                    <a:lnTo>
                      <a:pt x="3515" y="948"/>
                    </a:lnTo>
                    <a:lnTo>
                      <a:pt x="3467" y="942"/>
                    </a:lnTo>
                    <a:lnTo>
                      <a:pt x="3409" y="938"/>
                    </a:lnTo>
                    <a:lnTo>
                      <a:pt x="3439" y="966"/>
                    </a:lnTo>
                    <a:lnTo>
                      <a:pt x="3467" y="996"/>
                    </a:lnTo>
                    <a:lnTo>
                      <a:pt x="3492" y="1027"/>
                    </a:lnTo>
                    <a:lnTo>
                      <a:pt x="3514" y="1057"/>
                    </a:lnTo>
                    <a:lnTo>
                      <a:pt x="3532" y="1086"/>
                    </a:lnTo>
                    <a:lnTo>
                      <a:pt x="3548" y="1113"/>
                    </a:lnTo>
                    <a:lnTo>
                      <a:pt x="3561" y="1138"/>
                    </a:lnTo>
                    <a:lnTo>
                      <a:pt x="3572" y="1160"/>
                    </a:lnTo>
                    <a:lnTo>
                      <a:pt x="3580" y="1177"/>
                    </a:lnTo>
                    <a:lnTo>
                      <a:pt x="3584" y="1188"/>
                    </a:lnTo>
                    <a:lnTo>
                      <a:pt x="3587" y="1193"/>
                    </a:lnTo>
                    <a:lnTo>
                      <a:pt x="3594" y="1217"/>
                    </a:lnTo>
                    <a:lnTo>
                      <a:pt x="3599" y="1243"/>
                    </a:lnTo>
                    <a:lnTo>
                      <a:pt x="3603" y="1269"/>
                    </a:lnTo>
                    <a:lnTo>
                      <a:pt x="3605" y="1292"/>
                    </a:lnTo>
                    <a:lnTo>
                      <a:pt x="3620" y="2294"/>
                    </a:lnTo>
                    <a:lnTo>
                      <a:pt x="3620" y="2316"/>
                    </a:lnTo>
                    <a:lnTo>
                      <a:pt x="3619" y="2341"/>
                    </a:lnTo>
                    <a:lnTo>
                      <a:pt x="3616" y="2366"/>
                    </a:lnTo>
                    <a:lnTo>
                      <a:pt x="3613" y="2388"/>
                    </a:lnTo>
                    <a:lnTo>
                      <a:pt x="3503" y="3050"/>
                    </a:lnTo>
                    <a:lnTo>
                      <a:pt x="3495" y="3074"/>
                    </a:lnTo>
                    <a:lnTo>
                      <a:pt x="3479" y="3097"/>
                    </a:lnTo>
                    <a:lnTo>
                      <a:pt x="3459" y="3114"/>
                    </a:lnTo>
                    <a:lnTo>
                      <a:pt x="3435" y="3125"/>
                    </a:lnTo>
                    <a:lnTo>
                      <a:pt x="3409" y="3128"/>
                    </a:lnTo>
                    <a:lnTo>
                      <a:pt x="2902" y="3128"/>
                    </a:lnTo>
                    <a:lnTo>
                      <a:pt x="2879" y="3125"/>
                    </a:lnTo>
                    <a:lnTo>
                      <a:pt x="2858" y="3117"/>
                    </a:lnTo>
                    <a:lnTo>
                      <a:pt x="2840" y="3103"/>
                    </a:lnTo>
                    <a:lnTo>
                      <a:pt x="2826" y="3086"/>
                    </a:lnTo>
                    <a:lnTo>
                      <a:pt x="2818" y="3065"/>
                    </a:lnTo>
                    <a:lnTo>
                      <a:pt x="2815" y="3041"/>
                    </a:lnTo>
                    <a:lnTo>
                      <a:pt x="2815" y="2543"/>
                    </a:lnTo>
                    <a:lnTo>
                      <a:pt x="2760" y="2549"/>
                    </a:lnTo>
                    <a:lnTo>
                      <a:pt x="2705" y="2552"/>
                    </a:lnTo>
                    <a:lnTo>
                      <a:pt x="2659" y="2551"/>
                    </a:lnTo>
                    <a:lnTo>
                      <a:pt x="2615" y="2545"/>
                    </a:lnTo>
                    <a:lnTo>
                      <a:pt x="2615" y="2628"/>
                    </a:lnTo>
                    <a:lnTo>
                      <a:pt x="2611" y="2646"/>
                    </a:lnTo>
                    <a:lnTo>
                      <a:pt x="2603" y="2660"/>
                    </a:lnTo>
                    <a:lnTo>
                      <a:pt x="2589" y="2668"/>
                    </a:lnTo>
                    <a:lnTo>
                      <a:pt x="2571" y="2672"/>
                    </a:lnTo>
                    <a:lnTo>
                      <a:pt x="2555" y="2668"/>
                    </a:lnTo>
                    <a:lnTo>
                      <a:pt x="2541" y="2660"/>
                    </a:lnTo>
                    <a:lnTo>
                      <a:pt x="2531" y="2646"/>
                    </a:lnTo>
                    <a:lnTo>
                      <a:pt x="2528" y="2628"/>
                    </a:lnTo>
                    <a:lnTo>
                      <a:pt x="2528" y="2527"/>
                    </a:lnTo>
                    <a:lnTo>
                      <a:pt x="2476" y="2509"/>
                    </a:lnTo>
                    <a:lnTo>
                      <a:pt x="2428" y="2487"/>
                    </a:lnTo>
                    <a:lnTo>
                      <a:pt x="2382" y="2461"/>
                    </a:lnTo>
                    <a:lnTo>
                      <a:pt x="2342" y="2432"/>
                    </a:lnTo>
                    <a:lnTo>
                      <a:pt x="2342" y="2494"/>
                    </a:lnTo>
                    <a:lnTo>
                      <a:pt x="2338" y="2512"/>
                    </a:lnTo>
                    <a:lnTo>
                      <a:pt x="2329" y="2526"/>
                    </a:lnTo>
                    <a:lnTo>
                      <a:pt x="2315" y="2534"/>
                    </a:lnTo>
                    <a:lnTo>
                      <a:pt x="2298" y="2538"/>
                    </a:lnTo>
                    <a:lnTo>
                      <a:pt x="2282" y="2534"/>
                    </a:lnTo>
                    <a:lnTo>
                      <a:pt x="2268" y="2526"/>
                    </a:lnTo>
                    <a:lnTo>
                      <a:pt x="2258" y="2512"/>
                    </a:lnTo>
                    <a:lnTo>
                      <a:pt x="2256" y="2494"/>
                    </a:lnTo>
                    <a:lnTo>
                      <a:pt x="2256" y="2352"/>
                    </a:lnTo>
                    <a:lnTo>
                      <a:pt x="2254" y="2341"/>
                    </a:lnTo>
                    <a:lnTo>
                      <a:pt x="2249" y="2328"/>
                    </a:lnTo>
                    <a:lnTo>
                      <a:pt x="2242" y="2311"/>
                    </a:lnTo>
                    <a:lnTo>
                      <a:pt x="2234" y="2293"/>
                    </a:lnTo>
                    <a:lnTo>
                      <a:pt x="2227" y="2274"/>
                    </a:lnTo>
                    <a:lnTo>
                      <a:pt x="2218" y="2256"/>
                    </a:lnTo>
                    <a:lnTo>
                      <a:pt x="2214" y="2239"/>
                    </a:lnTo>
                    <a:lnTo>
                      <a:pt x="1922" y="2239"/>
                    </a:lnTo>
                    <a:lnTo>
                      <a:pt x="1921" y="2241"/>
                    </a:lnTo>
                    <a:lnTo>
                      <a:pt x="1919" y="2242"/>
                    </a:lnTo>
                    <a:lnTo>
                      <a:pt x="1919" y="2243"/>
                    </a:lnTo>
                    <a:lnTo>
                      <a:pt x="1860" y="3040"/>
                    </a:lnTo>
                    <a:lnTo>
                      <a:pt x="1855" y="3063"/>
                    </a:lnTo>
                    <a:lnTo>
                      <a:pt x="1845" y="3083"/>
                    </a:lnTo>
                    <a:lnTo>
                      <a:pt x="1831" y="3099"/>
                    </a:lnTo>
                    <a:lnTo>
                      <a:pt x="1813" y="3113"/>
                    </a:lnTo>
                    <a:lnTo>
                      <a:pt x="1793" y="3121"/>
                    </a:lnTo>
                    <a:lnTo>
                      <a:pt x="1769" y="3124"/>
                    </a:lnTo>
                    <a:lnTo>
                      <a:pt x="1273" y="3124"/>
                    </a:lnTo>
                    <a:lnTo>
                      <a:pt x="1250" y="3121"/>
                    </a:lnTo>
                    <a:lnTo>
                      <a:pt x="1229" y="3113"/>
                    </a:lnTo>
                    <a:lnTo>
                      <a:pt x="1211" y="3099"/>
                    </a:lnTo>
                    <a:lnTo>
                      <a:pt x="1197" y="3083"/>
                    </a:lnTo>
                    <a:lnTo>
                      <a:pt x="1188" y="3062"/>
                    </a:lnTo>
                    <a:lnTo>
                      <a:pt x="1182" y="3040"/>
                    </a:lnTo>
                    <a:lnTo>
                      <a:pt x="1124" y="2181"/>
                    </a:lnTo>
                    <a:lnTo>
                      <a:pt x="1087" y="2158"/>
                    </a:lnTo>
                    <a:lnTo>
                      <a:pt x="1050" y="2129"/>
                    </a:lnTo>
                    <a:lnTo>
                      <a:pt x="1014" y="2096"/>
                    </a:lnTo>
                    <a:lnTo>
                      <a:pt x="981" y="2059"/>
                    </a:lnTo>
                    <a:lnTo>
                      <a:pt x="950" y="2016"/>
                    </a:lnTo>
                    <a:lnTo>
                      <a:pt x="927" y="1972"/>
                    </a:lnTo>
                    <a:lnTo>
                      <a:pt x="908" y="1926"/>
                    </a:lnTo>
                    <a:lnTo>
                      <a:pt x="893" y="1881"/>
                    </a:lnTo>
                    <a:lnTo>
                      <a:pt x="882" y="1836"/>
                    </a:lnTo>
                    <a:lnTo>
                      <a:pt x="875" y="1793"/>
                    </a:lnTo>
                    <a:lnTo>
                      <a:pt x="871" y="1751"/>
                    </a:lnTo>
                    <a:lnTo>
                      <a:pt x="869" y="1713"/>
                    </a:lnTo>
                    <a:lnTo>
                      <a:pt x="869" y="1678"/>
                    </a:lnTo>
                    <a:lnTo>
                      <a:pt x="871" y="1648"/>
                    </a:lnTo>
                    <a:lnTo>
                      <a:pt x="811" y="1633"/>
                    </a:lnTo>
                    <a:lnTo>
                      <a:pt x="756" y="1612"/>
                    </a:lnTo>
                    <a:lnTo>
                      <a:pt x="707" y="1589"/>
                    </a:lnTo>
                    <a:lnTo>
                      <a:pt x="662" y="1563"/>
                    </a:lnTo>
                    <a:lnTo>
                      <a:pt x="622" y="1534"/>
                    </a:lnTo>
                    <a:lnTo>
                      <a:pt x="589" y="1501"/>
                    </a:lnTo>
                    <a:lnTo>
                      <a:pt x="563" y="1466"/>
                    </a:lnTo>
                    <a:lnTo>
                      <a:pt x="544" y="1429"/>
                    </a:lnTo>
                    <a:lnTo>
                      <a:pt x="532" y="1390"/>
                    </a:lnTo>
                    <a:lnTo>
                      <a:pt x="527" y="1350"/>
                    </a:lnTo>
                    <a:lnTo>
                      <a:pt x="530" y="1323"/>
                    </a:lnTo>
                    <a:lnTo>
                      <a:pt x="538" y="1298"/>
                    </a:lnTo>
                    <a:lnTo>
                      <a:pt x="551" y="1276"/>
                    </a:lnTo>
                    <a:lnTo>
                      <a:pt x="569" y="1255"/>
                    </a:lnTo>
                    <a:lnTo>
                      <a:pt x="588" y="1236"/>
                    </a:lnTo>
                    <a:lnTo>
                      <a:pt x="611" y="1218"/>
                    </a:lnTo>
                    <a:lnTo>
                      <a:pt x="636" y="1202"/>
                    </a:lnTo>
                    <a:lnTo>
                      <a:pt x="661" y="1186"/>
                    </a:lnTo>
                    <a:lnTo>
                      <a:pt x="687" y="1170"/>
                    </a:lnTo>
                    <a:lnTo>
                      <a:pt x="702" y="1162"/>
                    </a:lnTo>
                    <a:lnTo>
                      <a:pt x="698" y="1152"/>
                    </a:lnTo>
                    <a:lnTo>
                      <a:pt x="697" y="1141"/>
                    </a:lnTo>
                    <a:lnTo>
                      <a:pt x="651" y="721"/>
                    </a:lnTo>
                    <a:lnTo>
                      <a:pt x="627" y="745"/>
                    </a:lnTo>
                    <a:lnTo>
                      <a:pt x="587" y="777"/>
                    </a:lnTo>
                    <a:lnTo>
                      <a:pt x="543" y="802"/>
                    </a:lnTo>
                    <a:lnTo>
                      <a:pt x="497" y="821"/>
                    </a:lnTo>
                    <a:lnTo>
                      <a:pt x="449" y="832"/>
                    </a:lnTo>
                    <a:lnTo>
                      <a:pt x="401" y="836"/>
                    </a:lnTo>
                    <a:lnTo>
                      <a:pt x="383" y="835"/>
                    </a:lnTo>
                    <a:lnTo>
                      <a:pt x="339" y="829"/>
                    </a:lnTo>
                    <a:lnTo>
                      <a:pt x="292" y="817"/>
                    </a:lnTo>
                    <a:lnTo>
                      <a:pt x="243" y="800"/>
                    </a:lnTo>
                    <a:lnTo>
                      <a:pt x="197" y="778"/>
                    </a:lnTo>
                    <a:lnTo>
                      <a:pt x="151" y="754"/>
                    </a:lnTo>
                    <a:lnTo>
                      <a:pt x="110" y="725"/>
                    </a:lnTo>
                    <a:lnTo>
                      <a:pt x="73" y="696"/>
                    </a:lnTo>
                    <a:lnTo>
                      <a:pt x="41" y="664"/>
                    </a:lnTo>
                    <a:lnTo>
                      <a:pt x="19" y="632"/>
                    </a:lnTo>
                    <a:lnTo>
                      <a:pt x="6" y="608"/>
                    </a:lnTo>
                    <a:lnTo>
                      <a:pt x="0" y="584"/>
                    </a:lnTo>
                    <a:lnTo>
                      <a:pt x="0" y="563"/>
                    </a:lnTo>
                    <a:lnTo>
                      <a:pt x="2" y="547"/>
                    </a:lnTo>
                    <a:lnTo>
                      <a:pt x="6" y="532"/>
                    </a:lnTo>
                    <a:lnTo>
                      <a:pt x="22" y="506"/>
                    </a:lnTo>
                    <a:lnTo>
                      <a:pt x="44" y="477"/>
                    </a:lnTo>
                    <a:lnTo>
                      <a:pt x="71" y="448"/>
                    </a:lnTo>
                    <a:lnTo>
                      <a:pt x="104" y="420"/>
                    </a:lnTo>
                    <a:lnTo>
                      <a:pt x="141" y="393"/>
                    </a:lnTo>
                    <a:lnTo>
                      <a:pt x="183" y="366"/>
                    </a:lnTo>
                    <a:lnTo>
                      <a:pt x="227" y="344"/>
                    </a:lnTo>
                    <a:lnTo>
                      <a:pt x="274" y="326"/>
                    </a:lnTo>
                    <a:lnTo>
                      <a:pt x="323" y="314"/>
                    </a:lnTo>
                    <a:lnTo>
                      <a:pt x="374" y="307"/>
                    </a:lnTo>
                    <a:lnTo>
                      <a:pt x="425" y="307"/>
                    </a:lnTo>
                    <a:lnTo>
                      <a:pt x="476" y="315"/>
                    </a:lnTo>
                    <a:lnTo>
                      <a:pt x="516" y="329"/>
                    </a:lnTo>
                    <a:lnTo>
                      <a:pt x="558" y="350"/>
                    </a:lnTo>
                    <a:lnTo>
                      <a:pt x="598" y="376"/>
                    </a:lnTo>
                    <a:lnTo>
                      <a:pt x="633" y="408"/>
                    </a:lnTo>
                    <a:lnTo>
                      <a:pt x="667" y="444"/>
                    </a:lnTo>
                    <a:lnTo>
                      <a:pt x="671" y="439"/>
                    </a:lnTo>
                    <a:lnTo>
                      <a:pt x="676" y="434"/>
                    </a:lnTo>
                    <a:lnTo>
                      <a:pt x="758" y="366"/>
                    </a:lnTo>
                    <a:lnTo>
                      <a:pt x="712" y="328"/>
                    </a:lnTo>
                    <a:lnTo>
                      <a:pt x="671" y="284"/>
                    </a:lnTo>
                    <a:lnTo>
                      <a:pt x="635" y="234"/>
                    </a:lnTo>
                    <a:lnTo>
                      <a:pt x="603" y="179"/>
                    </a:lnTo>
                    <a:lnTo>
                      <a:pt x="578" y="118"/>
                    </a:lnTo>
                    <a:lnTo>
                      <a:pt x="559" y="54"/>
                    </a:lnTo>
                    <a:lnTo>
                      <a:pt x="558" y="36"/>
                    </a:lnTo>
                    <a:lnTo>
                      <a:pt x="563" y="20"/>
                    </a:lnTo>
                    <a:lnTo>
                      <a:pt x="574" y="8"/>
                    </a:lnTo>
                    <a:lnTo>
                      <a:pt x="591" y="0"/>
                    </a:lnTo>
                    <a:lnTo>
                      <a:pt x="607" y="0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26" name="Freeform 104">
                <a:extLst>
                  <a:ext uri="{FF2B5EF4-FFF2-40B4-BE49-F238E27FC236}">
                    <a16:creationId xmlns:a16="http://schemas.microsoft.com/office/drawing/2014/main" xmlns="" id="{E5005718-9305-4B71-89F6-57CF06FCE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1956" y="3222111"/>
                <a:ext cx="991795" cy="385134"/>
              </a:xfrm>
              <a:custGeom>
                <a:avLst/>
                <a:gdLst>
                  <a:gd name="connsiteX0" fmla="*/ 507580 w 991795"/>
                  <a:gd name="connsiteY0" fmla="*/ 121621 h 385134"/>
                  <a:gd name="connsiteX1" fmla="*/ 516601 w 991795"/>
                  <a:gd name="connsiteY1" fmla="*/ 122707 h 385134"/>
                  <a:gd name="connsiteX2" fmla="*/ 524180 w 991795"/>
                  <a:gd name="connsiteY2" fmla="*/ 125241 h 385134"/>
                  <a:gd name="connsiteX3" fmla="*/ 529593 w 991795"/>
                  <a:gd name="connsiteY3" fmla="*/ 129222 h 385134"/>
                  <a:gd name="connsiteX4" fmla="*/ 533923 w 991795"/>
                  <a:gd name="connsiteY4" fmla="*/ 134652 h 385134"/>
                  <a:gd name="connsiteX5" fmla="*/ 537171 w 991795"/>
                  <a:gd name="connsiteY5" fmla="*/ 141529 h 385134"/>
                  <a:gd name="connsiteX6" fmla="*/ 538975 w 991795"/>
                  <a:gd name="connsiteY6" fmla="*/ 150217 h 385134"/>
                  <a:gd name="connsiteX7" fmla="*/ 540058 w 991795"/>
                  <a:gd name="connsiteY7" fmla="*/ 159628 h 385134"/>
                  <a:gd name="connsiteX8" fmla="*/ 540058 w 991795"/>
                  <a:gd name="connsiteY8" fmla="*/ 170125 h 385134"/>
                  <a:gd name="connsiteX9" fmla="*/ 539336 w 991795"/>
                  <a:gd name="connsiteY9" fmla="*/ 180984 h 385134"/>
                  <a:gd name="connsiteX10" fmla="*/ 538614 w 991795"/>
                  <a:gd name="connsiteY10" fmla="*/ 193653 h 385134"/>
                  <a:gd name="connsiteX11" fmla="*/ 536449 w 991795"/>
                  <a:gd name="connsiteY11" fmla="*/ 206684 h 385134"/>
                  <a:gd name="connsiteX12" fmla="*/ 535006 w 991795"/>
                  <a:gd name="connsiteY12" fmla="*/ 220077 h 385134"/>
                  <a:gd name="connsiteX13" fmla="*/ 533201 w 991795"/>
                  <a:gd name="connsiteY13" fmla="*/ 234555 h 385134"/>
                  <a:gd name="connsiteX14" fmla="*/ 531036 w 991795"/>
                  <a:gd name="connsiteY14" fmla="*/ 249034 h 385134"/>
                  <a:gd name="connsiteX15" fmla="*/ 529593 w 991795"/>
                  <a:gd name="connsiteY15" fmla="*/ 263875 h 385134"/>
                  <a:gd name="connsiteX16" fmla="*/ 528149 w 991795"/>
                  <a:gd name="connsiteY16" fmla="*/ 278715 h 385134"/>
                  <a:gd name="connsiteX17" fmla="*/ 527066 w 991795"/>
                  <a:gd name="connsiteY17" fmla="*/ 293918 h 385134"/>
                  <a:gd name="connsiteX18" fmla="*/ 526706 w 991795"/>
                  <a:gd name="connsiteY18" fmla="*/ 308759 h 385134"/>
                  <a:gd name="connsiteX19" fmla="*/ 525984 w 991795"/>
                  <a:gd name="connsiteY19" fmla="*/ 324323 h 385134"/>
                  <a:gd name="connsiteX20" fmla="*/ 524180 w 991795"/>
                  <a:gd name="connsiteY20" fmla="*/ 337716 h 385134"/>
                  <a:gd name="connsiteX21" fmla="*/ 520932 w 991795"/>
                  <a:gd name="connsiteY21" fmla="*/ 349299 h 385134"/>
                  <a:gd name="connsiteX22" fmla="*/ 516962 w 991795"/>
                  <a:gd name="connsiteY22" fmla="*/ 358710 h 385134"/>
                  <a:gd name="connsiteX23" fmla="*/ 511549 w 991795"/>
                  <a:gd name="connsiteY23" fmla="*/ 366674 h 385134"/>
                  <a:gd name="connsiteX24" fmla="*/ 505775 w 991795"/>
                  <a:gd name="connsiteY24" fmla="*/ 373189 h 385134"/>
                  <a:gd name="connsiteX25" fmla="*/ 499280 w 991795"/>
                  <a:gd name="connsiteY25" fmla="*/ 377533 h 385134"/>
                  <a:gd name="connsiteX26" fmla="*/ 491340 w 991795"/>
                  <a:gd name="connsiteY26" fmla="*/ 381152 h 385134"/>
                  <a:gd name="connsiteX27" fmla="*/ 482680 w 991795"/>
                  <a:gd name="connsiteY27" fmla="*/ 383686 h 385134"/>
                  <a:gd name="connsiteX28" fmla="*/ 474019 w 991795"/>
                  <a:gd name="connsiteY28" fmla="*/ 384772 h 385134"/>
                  <a:gd name="connsiteX29" fmla="*/ 464275 w 991795"/>
                  <a:gd name="connsiteY29" fmla="*/ 385134 h 385134"/>
                  <a:gd name="connsiteX30" fmla="*/ 453810 w 991795"/>
                  <a:gd name="connsiteY30" fmla="*/ 385134 h 385134"/>
                  <a:gd name="connsiteX31" fmla="*/ 443345 w 991795"/>
                  <a:gd name="connsiteY31" fmla="*/ 384048 h 385134"/>
                  <a:gd name="connsiteX32" fmla="*/ 432158 w 991795"/>
                  <a:gd name="connsiteY32" fmla="*/ 382962 h 385134"/>
                  <a:gd name="connsiteX33" fmla="*/ 420610 w 991795"/>
                  <a:gd name="connsiteY33" fmla="*/ 381514 h 385134"/>
                  <a:gd name="connsiteX34" fmla="*/ 409062 w 991795"/>
                  <a:gd name="connsiteY34" fmla="*/ 380067 h 385134"/>
                  <a:gd name="connsiteX35" fmla="*/ 397154 w 991795"/>
                  <a:gd name="connsiteY35" fmla="*/ 378619 h 385134"/>
                  <a:gd name="connsiteX36" fmla="*/ 383801 w 991795"/>
                  <a:gd name="connsiteY36" fmla="*/ 376085 h 385134"/>
                  <a:gd name="connsiteX37" fmla="*/ 372254 w 991795"/>
                  <a:gd name="connsiteY37" fmla="*/ 372827 h 385134"/>
                  <a:gd name="connsiteX38" fmla="*/ 362871 w 991795"/>
                  <a:gd name="connsiteY38" fmla="*/ 368122 h 385134"/>
                  <a:gd name="connsiteX39" fmla="*/ 355654 w 991795"/>
                  <a:gd name="connsiteY39" fmla="*/ 362692 h 385134"/>
                  <a:gd name="connsiteX40" fmla="*/ 349158 w 991795"/>
                  <a:gd name="connsiteY40" fmla="*/ 356539 h 385134"/>
                  <a:gd name="connsiteX41" fmla="*/ 344106 w 991795"/>
                  <a:gd name="connsiteY41" fmla="*/ 350385 h 385134"/>
                  <a:gd name="connsiteX42" fmla="*/ 340136 w 991795"/>
                  <a:gd name="connsiteY42" fmla="*/ 343146 h 385134"/>
                  <a:gd name="connsiteX43" fmla="*/ 336527 w 991795"/>
                  <a:gd name="connsiteY43" fmla="*/ 335906 h 385134"/>
                  <a:gd name="connsiteX44" fmla="*/ 333641 w 991795"/>
                  <a:gd name="connsiteY44" fmla="*/ 328305 h 385134"/>
                  <a:gd name="connsiteX45" fmla="*/ 330754 w 991795"/>
                  <a:gd name="connsiteY45" fmla="*/ 320342 h 385134"/>
                  <a:gd name="connsiteX46" fmla="*/ 327506 w 991795"/>
                  <a:gd name="connsiteY46" fmla="*/ 312740 h 385134"/>
                  <a:gd name="connsiteX47" fmla="*/ 324619 w 991795"/>
                  <a:gd name="connsiteY47" fmla="*/ 305501 h 385134"/>
                  <a:gd name="connsiteX48" fmla="*/ 320649 w 991795"/>
                  <a:gd name="connsiteY48" fmla="*/ 298262 h 385134"/>
                  <a:gd name="connsiteX49" fmla="*/ 316319 w 991795"/>
                  <a:gd name="connsiteY49" fmla="*/ 291746 h 385134"/>
                  <a:gd name="connsiteX50" fmla="*/ 311267 w 991795"/>
                  <a:gd name="connsiteY50" fmla="*/ 284507 h 385134"/>
                  <a:gd name="connsiteX51" fmla="*/ 307297 w 991795"/>
                  <a:gd name="connsiteY51" fmla="*/ 278353 h 385134"/>
                  <a:gd name="connsiteX52" fmla="*/ 304410 w 991795"/>
                  <a:gd name="connsiteY52" fmla="*/ 272562 h 385134"/>
                  <a:gd name="connsiteX53" fmla="*/ 303327 w 991795"/>
                  <a:gd name="connsiteY53" fmla="*/ 266408 h 385134"/>
                  <a:gd name="connsiteX54" fmla="*/ 302606 w 991795"/>
                  <a:gd name="connsiteY54" fmla="*/ 260255 h 385134"/>
                  <a:gd name="connsiteX55" fmla="*/ 304410 w 991795"/>
                  <a:gd name="connsiteY55" fmla="*/ 254102 h 385134"/>
                  <a:gd name="connsiteX56" fmla="*/ 306575 w 991795"/>
                  <a:gd name="connsiteY56" fmla="*/ 246862 h 385134"/>
                  <a:gd name="connsiteX57" fmla="*/ 310906 w 991795"/>
                  <a:gd name="connsiteY57" fmla="*/ 238537 h 385134"/>
                  <a:gd name="connsiteX58" fmla="*/ 315597 w 991795"/>
                  <a:gd name="connsiteY58" fmla="*/ 229488 h 385134"/>
                  <a:gd name="connsiteX59" fmla="*/ 322093 w 991795"/>
                  <a:gd name="connsiteY59" fmla="*/ 218629 h 385134"/>
                  <a:gd name="connsiteX60" fmla="*/ 330032 w 991795"/>
                  <a:gd name="connsiteY60" fmla="*/ 205960 h 385134"/>
                  <a:gd name="connsiteX61" fmla="*/ 339414 w 991795"/>
                  <a:gd name="connsiteY61" fmla="*/ 191481 h 385134"/>
                  <a:gd name="connsiteX62" fmla="*/ 341219 w 991795"/>
                  <a:gd name="connsiteY62" fmla="*/ 191119 h 385134"/>
                  <a:gd name="connsiteX63" fmla="*/ 344106 w 991795"/>
                  <a:gd name="connsiteY63" fmla="*/ 188947 h 385134"/>
                  <a:gd name="connsiteX64" fmla="*/ 349158 w 991795"/>
                  <a:gd name="connsiteY64" fmla="*/ 186052 h 385134"/>
                  <a:gd name="connsiteX65" fmla="*/ 355654 w 991795"/>
                  <a:gd name="connsiteY65" fmla="*/ 181708 h 385134"/>
                  <a:gd name="connsiteX66" fmla="*/ 363954 w 991795"/>
                  <a:gd name="connsiteY66" fmla="*/ 176640 h 385134"/>
                  <a:gd name="connsiteX67" fmla="*/ 374058 w 991795"/>
                  <a:gd name="connsiteY67" fmla="*/ 171211 h 385134"/>
                  <a:gd name="connsiteX68" fmla="*/ 384884 w 991795"/>
                  <a:gd name="connsiteY68" fmla="*/ 165057 h 385134"/>
                  <a:gd name="connsiteX69" fmla="*/ 396793 w 991795"/>
                  <a:gd name="connsiteY69" fmla="*/ 159266 h 385134"/>
                  <a:gd name="connsiteX70" fmla="*/ 409784 w 991795"/>
                  <a:gd name="connsiteY70" fmla="*/ 152750 h 385134"/>
                  <a:gd name="connsiteX71" fmla="*/ 423136 w 991795"/>
                  <a:gd name="connsiteY71" fmla="*/ 146597 h 385134"/>
                  <a:gd name="connsiteX72" fmla="*/ 437571 w 991795"/>
                  <a:gd name="connsiteY72" fmla="*/ 140805 h 385134"/>
                  <a:gd name="connsiteX73" fmla="*/ 452006 w 991795"/>
                  <a:gd name="connsiteY73" fmla="*/ 135376 h 385134"/>
                  <a:gd name="connsiteX74" fmla="*/ 466801 w 991795"/>
                  <a:gd name="connsiteY74" fmla="*/ 130308 h 385134"/>
                  <a:gd name="connsiteX75" fmla="*/ 482319 w 991795"/>
                  <a:gd name="connsiteY75" fmla="*/ 126327 h 385134"/>
                  <a:gd name="connsiteX76" fmla="*/ 497114 w 991795"/>
                  <a:gd name="connsiteY76" fmla="*/ 122707 h 385134"/>
                  <a:gd name="connsiteX77" fmla="*/ 31853 w 991795"/>
                  <a:gd name="connsiteY77" fmla="*/ 115106 h 385134"/>
                  <a:gd name="connsiteX78" fmla="*/ 222611 w 991795"/>
                  <a:gd name="connsiteY78" fmla="*/ 115106 h 385134"/>
                  <a:gd name="connsiteX79" fmla="*/ 242881 w 991795"/>
                  <a:gd name="connsiteY79" fmla="*/ 125659 h 385134"/>
                  <a:gd name="connsiteX80" fmla="*/ 243605 w 991795"/>
                  <a:gd name="connsiteY80" fmla="*/ 125659 h 385134"/>
                  <a:gd name="connsiteX81" fmla="*/ 251568 w 991795"/>
                  <a:gd name="connsiteY81" fmla="*/ 129661 h 385134"/>
                  <a:gd name="connsiteX82" fmla="*/ 259893 w 991795"/>
                  <a:gd name="connsiteY82" fmla="*/ 133664 h 385134"/>
                  <a:gd name="connsiteX83" fmla="*/ 267857 w 991795"/>
                  <a:gd name="connsiteY83" fmla="*/ 138395 h 385134"/>
                  <a:gd name="connsiteX84" fmla="*/ 263875 w 991795"/>
                  <a:gd name="connsiteY84" fmla="*/ 143853 h 385134"/>
                  <a:gd name="connsiteX85" fmla="*/ 257360 w 991795"/>
                  <a:gd name="connsiteY85" fmla="*/ 150039 h 385134"/>
                  <a:gd name="connsiteX86" fmla="*/ 249034 w 991795"/>
                  <a:gd name="connsiteY86" fmla="*/ 155861 h 385134"/>
                  <a:gd name="connsiteX87" fmla="*/ 238537 w 991795"/>
                  <a:gd name="connsiteY87" fmla="*/ 162047 h 385134"/>
                  <a:gd name="connsiteX88" fmla="*/ 221163 w 991795"/>
                  <a:gd name="connsiteY88" fmla="*/ 169325 h 385134"/>
                  <a:gd name="connsiteX89" fmla="*/ 201254 w 991795"/>
                  <a:gd name="connsiteY89" fmla="*/ 175511 h 385134"/>
                  <a:gd name="connsiteX90" fmla="*/ 180260 w 991795"/>
                  <a:gd name="connsiteY90" fmla="*/ 179877 h 385134"/>
                  <a:gd name="connsiteX91" fmla="*/ 157818 w 991795"/>
                  <a:gd name="connsiteY91" fmla="*/ 182788 h 385134"/>
                  <a:gd name="connsiteX92" fmla="*/ 134652 w 991795"/>
                  <a:gd name="connsiteY92" fmla="*/ 183880 h 385134"/>
                  <a:gd name="connsiteX93" fmla="*/ 111848 w 991795"/>
                  <a:gd name="connsiteY93" fmla="*/ 182788 h 385134"/>
                  <a:gd name="connsiteX94" fmla="*/ 89406 w 991795"/>
                  <a:gd name="connsiteY94" fmla="*/ 179877 h 385134"/>
                  <a:gd name="connsiteX95" fmla="*/ 68412 w 991795"/>
                  <a:gd name="connsiteY95" fmla="*/ 175511 h 385134"/>
                  <a:gd name="connsiteX96" fmla="*/ 48504 w 991795"/>
                  <a:gd name="connsiteY96" fmla="*/ 169325 h 385134"/>
                  <a:gd name="connsiteX97" fmla="*/ 31129 w 991795"/>
                  <a:gd name="connsiteY97" fmla="*/ 162047 h 385134"/>
                  <a:gd name="connsiteX98" fmla="*/ 19184 w 991795"/>
                  <a:gd name="connsiteY98" fmla="*/ 154769 h 385134"/>
                  <a:gd name="connsiteX99" fmla="*/ 10135 w 991795"/>
                  <a:gd name="connsiteY99" fmla="*/ 147856 h 385134"/>
                  <a:gd name="connsiteX100" fmla="*/ 3619 w 991795"/>
                  <a:gd name="connsiteY100" fmla="*/ 141306 h 385134"/>
                  <a:gd name="connsiteX101" fmla="*/ 0 w 991795"/>
                  <a:gd name="connsiteY101" fmla="*/ 135484 h 385134"/>
                  <a:gd name="connsiteX102" fmla="*/ 5429 w 991795"/>
                  <a:gd name="connsiteY102" fmla="*/ 131481 h 385134"/>
                  <a:gd name="connsiteX103" fmla="*/ 11945 w 991795"/>
                  <a:gd name="connsiteY103" fmla="*/ 127114 h 385134"/>
                  <a:gd name="connsiteX104" fmla="*/ 19184 w 991795"/>
                  <a:gd name="connsiteY104" fmla="*/ 123112 h 385134"/>
                  <a:gd name="connsiteX105" fmla="*/ 25700 w 991795"/>
                  <a:gd name="connsiteY105" fmla="*/ 119109 h 385134"/>
                  <a:gd name="connsiteX106" fmla="*/ 770994 w 991795"/>
                  <a:gd name="connsiteY106" fmla="*/ 0 h 385134"/>
                  <a:gd name="connsiteX107" fmla="*/ 790178 w 991795"/>
                  <a:gd name="connsiteY107" fmla="*/ 1448 h 385134"/>
                  <a:gd name="connsiteX108" fmla="*/ 808639 w 991795"/>
                  <a:gd name="connsiteY108" fmla="*/ 5068 h 385134"/>
                  <a:gd name="connsiteX109" fmla="*/ 827099 w 991795"/>
                  <a:gd name="connsiteY109" fmla="*/ 9411 h 385134"/>
                  <a:gd name="connsiteX110" fmla="*/ 844112 w 991795"/>
                  <a:gd name="connsiteY110" fmla="*/ 15565 h 385134"/>
                  <a:gd name="connsiteX111" fmla="*/ 860762 w 991795"/>
                  <a:gd name="connsiteY111" fmla="*/ 22442 h 385134"/>
                  <a:gd name="connsiteX112" fmla="*/ 875603 w 991795"/>
                  <a:gd name="connsiteY112" fmla="*/ 30044 h 385134"/>
                  <a:gd name="connsiteX113" fmla="*/ 890082 w 991795"/>
                  <a:gd name="connsiteY113" fmla="*/ 38369 h 385134"/>
                  <a:gd name="connsiteX114" fmla="*/ 902389 w 991795"/>
                  <a:gd name="connsiteY114" fmla="*/ 47056 h 385134"/>
                  <a:gd name="connsiteX115" fmla="*/ 914334 w 991795"/>
                  <a:gd name="connsiteY115" fmla="*/ 55381 h 385134"/>
                  <a:gd name="connsiteX116" fmla="*/ 924469 w 991795"/>
                  <a:gd name="connsiteY116" fmla="*/ 63345 h 385134"/>
                  <a:gd name="connsiteX117" fmla="*/ 932794 w 991795"/>
                  <a:gd name="connsiteY117" fmla="*/ 70946 h 385134"/>
                  <a:gd name="connsiteX118" fmla="*/ 940034 w 991795"/>
                  <a:gd name="connsiteY118" fmla="*/ 77823 h 385134"/>
                  <a:gd name="connsiteX119" fmla="*/ 945101 w 991795"/>
                  <a:gd name="connsiteY119" fmla="*/ 83253 h 385134"/>
                  <a:gd name="connsiteX120" fmla="*/ 948359 w 991795"/>
                  <a:gd name="connsiteY120" fmla="*/ 87958 h 385134"/>
                  <a:gd name="connsiteX121" fmla="*/ 949807 w 991795"/>
                  <a:gd name="connsiteY121" fmla="*/ 90492 h 385134"/>
                  <a:gd name="connsiteX122" fmla="*/ 950893 w 991795"/>
                  <a:gd name="connsiteY122" fmla="*/ 93388 h 385134"/>
                  <a:gd name="connsiteX123" fmla="*/ 952341 w 991795"/>
                  <a:gd name="connsiteY123" fmla="*/ 98818 h 385134"/>
                  <a:gd name="connsiteX124" fmla="*/ 954512 w 991795"/>
                  <a:gd name="connsiteY124" fmla="*/ 106419 h 385134"/>
                  <a:gd name="connsiteX125" fmla="*/ 957408 w 991795"/>
                  <a:gd name="connsiteY125" fmla="*/ 115830 h 385134"/>
                  <a:gd name="connsiteX126" fmla="*/ 960304 w 991795"/>
                  <a:gd name="connsiteY126" fmla="*/ 126689 h 385134"/>
                  <a:gd name="connsiteX127" fmla="*/ 963924 w 991795"/>
                  <a:gd name="connsiteY127" fmla="*/ 138634 h 385134"/>
                  <a:gd name="connsiteX128" fmla="*/ 967543 w 991795"/>
                  <a:gd name="connsiteY128" fmla="*/ 152027 h 385134"/>
                  <a:gd name="connsiteX129" fmla="*/ 971525 w 991795"/>
                  <a:gd name="connsiteY129" fmla="*/ 166144 h 385134"/>
                  <a:gd name="connsiteX130" fmla="*/ 975507 w 991795"/>
                  <a:gd name="connsiteY130" fmla="*/ 180622 h 385134"/>
                  <a:gd name="connsiteX131" fmla="*/ 978764 w 991795"/>
                  <a:gd name="connsiteY131" fmla="*/ 195101 h 385134"/>
                  <a:gd name="connsiteX132" fmla="*/ 982384 w 991795"/>
                  <a:gd name="connsiteY132" fmla="*/ 209580 h 385134"/>
                  <a:gd name="connsiteX133" fmla="*/ 985280 w 991795"/>
                  <a:gd name="connsiteY133" fmla="*/ 223335 h 385134"/>
                  <a:gd name="connsiteX134" fmla="*/ 987814 w 991795"/>
                  <a:gd name="connsiteY134" fmla="*/ 237089 h 385134"/>
                  <a:gd name="connsiteX135" fmla="*/ 989985 w 991795"/>
                  <a:gd name="connsiteY135" fmla="*/ 249396 h 385134"/>
                  <a:gd name="connsiteX136" fmla="*/ 991433 w 991795"/>
                  <a:gd name="connsiteY136" fmla="*/ 260979 h 385134"/>
                  <a:gd name="connsiteX137" fmla="*/ 991795 w 991795"/>
                  <a:gd name="connsiteY137" fmla="*/ 270391 h 385134"/>
                  <a:gd name="connsiteX138" fmla="*/ 991795 w 991795"/>
                  <a:gd name="connsiteY138" fmla="*/ 278354 h 385134"/>
                  <a:gd name="connsiteX139" fmla="*/ 990347 w 991795"/>
                  <a:gd name="connsiteY139" fmla="*/ 284507 h 385134"/>
                  <a:gd name="connsiteX140" fmla="*/ 986728 w 991795"/>
                  <a:gd name="connsiteY140" fmla="*/ 289937 h 385134"/>
                  <a:gd name="connsiteX141" fmla="*/ 981298 w 991795"/>
                  <a:gd name="connsiteY141" fmla="*/ 295728 h 385134"/>
                  <a:gd name="connsiteX142" fmla="*/ 974421 w 991795"/>
                  <a:gd name="connsiteY142" fmla="*/ 302244 h 385134"/>
                  <a:gd name="connsiteX143" fmla="*/ 965010 w 991795"/>
                  <a:gd name="connsiteY143" fmla="*/ 308759 h 385134"/>
                  <a:gd name="connsiteX144" fmla="*/ 954512 w 991795"/>
                  <a:gd name="connsiteY144" fmla="*/ 315275 h 385134"/>
                  <a:gd name="connsiteX145" fmla="*/ 942929 w 991795"/>
                  <a:gd name="connsiteY145" fmla="*/ 321428 h 385134"/>
                  <a:gd name="connsiteX146" fmla="*/ 929899 w 991795"/>
                  <a:gd name="connsiteY146" fmla="*/ 327220 h 385134"/>
                  <a:gd name="connsiteX147" fmla="*/ 916506 w 991795"/>
                  <a:gd name="connsiteY147" fmla="*/ 332649 h 385134"/>
                  <a:gd name="connsiteX148" fmla="*/ 902389 w 991795"/>
                  <a:gd name="connsiteY148" fmla="*/ 337355 h 385134"/>
                  <a:gd name="connsiteX149" fmla="*/ 888634 w 991795"/>
                  <a:gd name="connsiteY149" fmla="*/ 340612 h 385134"/>
                  <a:gd name="connsiteX150" fmla="*/ 874155 w 991795"/>
                  <a:gd name="connsiteY150" fmla="*/ 343870 h 385134"/>
                  <a:gd name="connsiteX151" fmla="*/ 860038 w 991795"/>
                  <a:gd name="connsiteY151" fmla="*/ 344594 h 385134"/>
                  <a:gd name="connsiteX152" fmla="*/ 846646 w 991795"/>
                  <a:gd name="connsiteY152" fmla="*/ 344594 h 385134"/>
                  <a:gd name="connsiteX153" fmla="*/ 833615 w 991795"/>
                  <a:gd name="connsiteY153" fmla="*/ 343146 h 385134"/>
                  <a:gd name="connsiteX154" fmla="*/ 821670 w 991795"/>
                  <a:gd name="connsiteY154" fmla="*/ 339165 h 385134"/>
                  <a:gd name="connsiteX155" fmla="*/ 811173 w 991795"/>
                  <a:gd name="connsiteY155" fmla="*/ 334097 h 385134"/>
                  <a:gd name="connsiteX156" fmla="*/ 798142 w 991795"/>
                  <a:gd name="connsiteY156" fmla="*/ 325410 h 385134"/>
                  <a:gd name="connsiteX157" fmla="*/ 784387 w 991795"/>
                  <a:gd name="connsiteY157" fmla="*/ 315637 h 385134"/>
                  <a:gd name="connsiteX158" fmla="*/ 769908 w 991795"/>
                  <a:gd name="connsiteY158" fmla="*/ 305864 h 385134"/>
                  <a:gd name="connsiteX159" fmla="*/ 754705 w 991795"/>
                  <a:gd name="connsiteY159" fmla="*/ 295366 h 385134"/>
                  <a:gd name="connsiteX160" fmla="*/ 739865 w 991795"/>
                  <a:gd name="connsiteY160" fmla="*/ 284507 h 385134"/>
                  <a:gd name="connsiteX161" fmla="*/ 725024 w 991795"/>
                  <a:gd name="connsiteY161" fmla="*/ 273286 h 385134"/>
                  <a:gd name="connsiteX162" fmla="*/ 710545 w 991795"/>
                  <a:gd name="connsiteY162" fmla="*/ 262065 h 385134"/>
                  <a:gd name="connsiteX163" fmla="*/ 697152 w 991795"/>
                  <a:gd name="connsiteY163" fmla="*/ 251568 h 385134"/>
                  <a:gd name="connsiteX164" fmla="*/ 684483 w 991795"/>
                  <a:gd name="connsiteY164" fmla="*/ 241071 h 385134"/>
                  <a:gd name="connsiteX165" fmla="*/ 672900 w 991795"/>
                  <a:gd name="connsiteY165" fmla="*/ 231660 h 385134"/>
                  <a:gd name="connsiteX166" fmla="*/ 663489 w 991795"/>
                  <a:gd name="connsiteY166" fmla="*/ 222611 h 385134"/>
                  <a:gd name="connsiteX167" fmla="*/ 655526 w 991795"/>
                  <a:gd name="connsiteY167" fmla="*/ 215009 h 385134"/>
                  <a:gd name="connsiteX168" fmla="*/ 649734 w 991795"/>
                  <a:gd name="connsiteY168" fmla="*/ 208494 h 385134"/>
                  <a:gd name="connsiteX169" fmla="*/ 645753 w 991795"/>
                  <a:gd name="connsiteY169" fmla="*/ 202702 h 385134"/>
                  <a:gd name="connsiteX170" fmla="*/ 641047 w 991795"/>
                  <a:gd name="connsiteY170" fmla="*/ 195101 h 385134"/>
                  <a:gd name="connsiteX171" fmla="*/ 636703 w 991795"/>
                  <a:gd name="connsiteY171" fmla="*/ 187138 h 385134"/>
                  <a:gd name="connsiteX172" fmla="*/ 631998 w 991795"/>
                  <a:gd name="connsiteY172" fmla="*/ 177727 h 385134"/>
                  <a:gd name="connsiteX173" fmla="*/ 628016 w 991795"/>
                  <a:gd name="connsiteY173" fmla="*/ 167592 h 385134"/>
                  <a:gd name="connsiteX174" fmla="*/ 624759 w 991795"/>
                  <a:gd name="connsiteY174" fmla="*/ 157094 h 385134"/>
                  <a:gd name="connsiteX175" fmla="*/ 621139 w 991795"/>
                  <a:gd name="connsiteY175" fmla="*/ 146235 h 385134"/>
                  <a:gd name="connsiteX176" fmla="*/ 618605 w 991795"/>
                  <a:gd name="connsiteY176" fmla="*/ 135376 h 385134"/>
                  <a:gd name="connsiteX177" fmla="*/ 617157 w 991795"/>
                  <a:gd name="connsiteY177" fmla="*/ 124879 h 385134"/>
                  <a:gd name="connsiteX178" fmla="*/ 616071 w 991795"/>
                  <a:gd name="connsiteY178" fmla="*/ 114744 h 385134"/>
                  <a:gd name="connsiteX179" fmla="*/ 616795 w 991795"/>
                  <a:gd name="connsiteY179" fmla="*/ 104609 h 385134"/>
                  <a:gd name="connsiteX180" fmla="*/ 618243 w 991795"/>
                  <a:gd name="connsiteY180" fmla="*/ 96284 h 385134"/>
                  <a:gd name="connsiteX181" fmla="*/ 621139 w 991795"/>
                  <a:gd name="connsiteY181" fmla="*/ 88682 h 385134"/>
                  <a:gd name="connsiteX182" fmla="*/ 625844 w 991795"/>
                  <a:gd name="connsiteY182" fmla="*/ 82167 h 385134"/>
                  <a:gd name="connsiteX183" fmla="*/ 631998 w 991795"/>
                  <a:gd name="connsiteY183" fmla="*/ 77823 h 385134"/>
                  <a:gd name="connsiteX184" fmla="*/ 639599 w 991795"/>
                  <a:gd name="connsiteY184" fmla="*/ 73480 h 385134"/>
                  <a:gd name="connsiteX185" fmla="*/ 648287 w 991795"/>
                  <a:gd name="connsiteY185" fmla="*/ 68774 h 385134"/>
                  <a:gd name="connsiteX186" fmla="*/ 658060 w 991795"/>
                  <a:gd name="connsiteY186" fmla="*/ 63345 h 385134"/>
                  <a:gd name="connsiteX187" fmla="*/ 668557 w 991795"/>
                  <a:gd name="connsiteY187" fmla="*/ 57553 h 385134"/>
                  <a:gd name="connsiteX188" fmla="*/ 680140 w 991795"/>
                  <a:gd name="connsiteY188" fmla="*/ 51038 h 385134"/>
                  <a:gd name="connsiteX189" fmla="*/ 691361 w 991795"/>
                  <a:gd name="connsiteY189" fmla="*/ 44522 h 385134"/>
                  <a:gd name="connsiteX190" fmla="*/ 702944 w 991795"/>
                  <a:gd name="connsiteY190" fmla="*/ 38007 h 385134"/>
                  <a:gd name="connsiteX191" fmla="*/ 714527 w 991795"/>
                  <a:gd name="connsiteY191" fmla="*/ 31491 h 385134"/>
                  <a:gd name="connsiteX192" fmla="*/ 726110 w 991795"/>
                  <a:gd name="connsiteY192" fmla="*/ 25338 h 385134"/>
                  <a:gd name="connsiteX193" fmla="*/ 736245 w 991795"/>
                  <a:gd name="connsiteY193" fmla="*/ 19546 h 385134"/>
                  <a:gd name="connsiteX194" fmla="*/ 746018 w 991795"/>
                  <a:gd name="connsiteY194" fmla="*/ 14479 h 385134"/>
                  <a:gd name="connsiteX195" fmla="*/ 753981 w 991795"/>
                  <a:gd name="connsiteY195" fmla="*/ 9411 h 385134"/>
                  <a:gd name="connsiteX196" fmla="*/ 760859 w 991795"/>
                  <a:gd name="connsiteY196" fmla="*/ 5430 h 385134"/>
                  <a:gd name="connsiteX197" fmla="*/ 766288 w 991795"/>
                  <a:gd name="connsiteY197" fmla="*/ 2534 h 385134"/>
                  <a:gd name="connsiteX198" fmla="*/ 769184 w 991795"/>
                  <a:gd name="connsiteY198" fmla="*/ 1086 h 38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</a:cxnLst>
                <a:rect l="l" t="t" r="r" b="b"/>
                <a:pathLst>
                  <a:path w="991795" h="385134">
                    <a:moveTo>
                      <a:pt x="507580" y="121621"/>
                    </a:moveTo>
                    <a:lnTo>
                      <a:pt x="516601" y="122707"/>
                    </a:lnTo>
                    <a:lnTo>
                      <a:pt x="524180" y="125241"/>
                    </a:lnTo>
                    <a:lnTo>
                      <a:pt x="529593" y="129222"/>
                    </a:lnTo>
                    <a:lnTo>
                      <a:pt x="533923" y="134652"/>
                    </a:lnTo>
                    <a:lnTo>
                      <a:pt x="537171" y="141529"/>
                    </a:lnTo>
                    <a:lnTo>
                      <a:pt x="538975" y="150217"/>
                    </a:lnTo>
                    <a:lnTo>
                      <a:pt x="540058" y="159628"/>
                    </a:lnTo>
                    <a:lnTo>
                      <a:pt x="540058" y="170125"/>
                    </a:lnTo>
                    <a:lnTo>
                      <a:pt x="539336" y="180984"/>
                    </a:lnTo>
                    <a:lnTo>
                      <a:pt x="538614" y="193653"/>
                    </a:lnTo>
                    <a:lnTo>
                      <a:pt x="536449" y="206684"/>
                    </a:lnTo>
                    <a:lnTo>
                      <a:pt x="535006" y="220077"/>
                    </a:lnTo>
                    <a:lnTo>
                      <a:pt x="533201" y="234555"/>
                    </a:lnTo>
                    <a:lnTo>
                      <a:pt x="531036" y="249034"/>
                    </a:lnTo>
                    <a:lnTo>
                      <a:pt x="529593" y="263875"/>
                    </a:lnTo>
                    <a:lnTo>
                      <a:pt x="528149" y="278715"/>
                    </a:lnTo>
                    <a:lnTo>
                      <a:pt x="527066" y="293918"/>
                    </a:lnTo>
                    <a:lnTo>
                      <a:pt x="526706" y="308759"/>
                    </a:lnTo>
                    <a:lnTo>
                      <a:pt x="525984" y="324323"/>
                    </a:lnTo>
                    <a:lnTo>
                      <a:pt x="524180" y="337716"/>
                    </a:lnTo>
                    <a:lnTo>
                      <a:pt x="520932" y="349299"/>
                    </a:lnTo>
                    <a:lnTo>
                      <a:pt x="516962" y="358710"/>
                    </a:lnTo>
                    <a:lnTo>
                      <a:pt x="511549" y="366674"/>
                    </a:lnTo>
                    <a:lnTo>
                      <a:pt x="505775" y="373189"/>
                    </a:lnTo>
                    <a:lnTo>
                      <a:pt x="499280" y="377533"/>
                    </a:lnTo>
                    <a:lnTo>
                      <a:pt x="491340" y="381152"/>
                    </a:lnTo>
                    <a:lnTo>
                      <a:pt x="482680" y="383686"/>
                    </a:lnTo>
                    <a:lnTo>
                      <a:pt x="474019" y="384772"/>
                    </a:lnTo>
                    <a:lnTo>
                      <a:pt x="464275" y="385134"/>
                    </a:lnTo>
                    <a:lnTo>
                      <a:pt x="453810" y="385134"/>
                    </a:lnTo>
                    <a:lnTo>
                      <a:pt x="443345" y="384048"/>
                    </a:lnTo>
                    <a:lnTo>
                      <a:pt x="432158" y="382962"/>
                    </a:lnTo>
                    <a:lnTo>
                      <a:pt x="420610" y="381514"/>
                    </a:lnTo>
                    <a:lnTo>
                      <a:pt x="409062" y="380067"/>
                    </a:lnTo>
                    <a:lnTo>
                      <a:pt x="397154" y="378619"/>
                    </a:lnTo>
                    <a:lnTo>
                      <a:pt x="383801" y="376085"/>
                    </a:lnTo>
                    <a:lnTo>
                      <a:pt x="372254" y="372827"/>
                    </a:lnTo>
                    <a:lnTo>
                      <a:pt x="362871" y="368122"/>
                    </a:lnTo>
                    <a:lnTo>
                      <a:pt x="355654" y="362692"/>
                    </a:lnTo>
                    <a:lnTo>
                      <a:pt x="349158" y="356539"/>
                    </a:lnTo>
                    <a:lnTo>
                      <a:pt x="344106" y="350385"/>
                    </a:lnTo>
                    <a:lnTo>
                      <a:pt x="340136" y="343146"/>
                    </a:lnTo>
                    <a:lnTo>
                      <a:pt x="336527" y="335906"/>
                    </a:lnTo>
                    <a:lnTo>
                      <a:pt x="333641" y="328305"/>
                    </a:lnTo>
                    <a:lnTo>
                      <a:pt x="330754" y="320342"/>
                    </a:lnTo>
                    <a:lnTo>
                      <a:pt x="327506" y="312740"/>
                    </a:lnTo>
                    <a:lnTo>
                      <a:pt x="324619" y="305501"/>
                    </a:lnTo>
                    <a:lnTo>
                      <a:pt x="320649" y="298262"/>
                    </a:lnTo>
                    <a:lnTo>
                      <a:pt x="316319" y="291746"/>
                    </a:lnTo>
                    <a:lnTo>
                      <a:pt x="311267" y="284507"/>
                    </a:lnTo>
                    <a:lnTo>
                      <a:pt x="307297" y="278353"/>
                    </a:lnTo>
                    <a:lnTo>
                      <a:pt x="304410" y="272562"/>
                    </a:lnTo>
                    <a:lnTo>
                      <a:pt x="303327" y="266408"/>
                    </a:lnTo>
                    <a:lnTo>
                      <a:pt x="302606" y="260255"/>
                    </a:lnTo>
                    <a:lnTo>
                      <a:pt x="304410" y="254102"/>
                    </a:lnTo>
                    <a:lnTo>
                      <a:pt x="306575" y="246862"/>
                    </a:lnTo>
                    <a:lnTo>
                      <a:pt x="310906" y="238537"/>
                    </a:lnTo>
                    <a:lnTo>
                      <a:pt x="315597" y="229488"/>
                    </a:lnTo>
                    <a:lnTo>
                      <a:pt x="322093" y="218629"/>
                    </a:lnTo>
                    <a:lnTo>
                      <a:pt x="330032" y="205960"/>
                    </a:lnTo>
                    <a:lnTo>
                      <a:pt x="339414" y="191481"/>
                    </a:lnTo>
                    <a:lnTo>
                      <a:pt x="341219" y="191119"/>
                    </a:lnTo>
                    <a:lnTo>
                      <a:pt x="344106" y="188947"/>
                    </a:lnTo>
                    <a:lnTo>
                      <a:pt x="349158" y="186052"/>
                    </a:lnTo>
                    <a:lnTo>
                      <a:pt x="355654" y="181708"/>
                    </a:lnTo>
                    <a:lnTo>
                      <a:pt x="363954" y="176640"/>
                    </a:lnTo>
                    <a:lnTo>
                      <a:pt x="374058" y="171211"/>
                    </a:lnTo>
                    <a:lnTo>
                      <a:pt x="384884" y="165057"/>
                    </a:lnTo>
                    <a:lnTo>
                      <a:pt x="396793" y="159266"/>
                    </a:lnTo>
                    <a:lnTo>
                      <a:pt x="409784" y="152750"/>
                    </a:lnTo>
                    <a:lnTo>
                      <a:pt x="423136" y="146597"/>
                    </a:lnTo>
                    <a:lnTo>
                      <a:pt x="437571" y="140805"/>
                    </a:lnTo>
                    <a:lnTo>
                      <a:pt x="452006" y="135376"/>
                    </a:lnTo>
                    <a:lnTo>
                      <a:pt x="466801" y="130308"/>
                    </a:lnTo>
                    <a:lnTo>
                      <a:pt x="482319" y="126327"/>
                    </a:lnTo>
                    <a:lnTo>
                      <a:pt x="497114" y="122707"/>
                    </a:lnTo>
                    <a:close/>
                    <a:moveTo>
                      <a:pt x="31853" y="115106"/>
                    </a:moveTo>
                    <a:lnTo>
                      <a:pt x="222611" y="115106"/>
                    </a:lnTo>
                    <a:lnTo>
                      <a:pt x="242881" y="125659"/>
                    </a:lnTo>
                    <a:lnTo>
                      <a:pt x="243605" y="125659"/>
                    </a:lnTo>
                    <a:lnTo>
                      <a:pt x="251568" y="129661"/>
                    </a:lnTo>
                    <a:lnTo>
                      <a:pt x="259893" y="133664"/>
                    </a:lnTo>
                    <a:lnTo>
                      <a:pt x="267857" y="138395"/>
                    </a:lnTo>
                    <a:lnTo>
                      <a:pt x="263875" y="143853"/>
                    </a:lnTo>
                    <a:lnTo>
                      <a:pt x="257360" y="150039"/>
                    </a:lnTo>
                    <a:lnTo>
                      <a:pt x="249034" y="155861"/>
                    </a:lnTo>
                    <a:lnTo>
                      <a:pt x="238537" y="162047"/>
                    </a:lnTo>
                    <a:lnTo>
                      <a:pt x="221163" y="169325"/>
                    </a:lnTo>
                    <a:lnTo>
                      <a:pt x="201254" y="175511"/>
                    </a:lnTo>
                    <a:lnTo>
                      <a:pt x="180260" y="179877"/>
                    </a:lnTo>
                    <a:lnTo>
                      <a:pt x="157818" y="182788"/>
                    </a:lnTo>
                    <a:lnTo>
                      <a:pt x="134652" y="183880"/>
                    </a:lnTo>
                    <a:lnTo>
                      <a:pt x="111848" y="182788"/>
                    </a:lnTo>
                    <a:lnTo>
                      <a:pt x="89406" y="179877"/>
                    </a:lnTo>
                    <a:lnTo>
                      <a:pt x="68412" y="175511"/>
                    </a:lnTo>
                    <a:lnTo>
                      <a:pt x="48504" y="169325"/>
                    </a:lnTo>
                    <a:lnTo>
                      <a:pt x="31129" y="162047"/>
                    </a:lnTo>
                    <a:lnTo>
                      <a:pt x="19184" y="154769"/>
                    </a:lnTo>
                    <a:lnTo>
                      <a:pt x="10135" y="147856"/>
                    </a:lnTo>
                    <a:lnTo>
                      <a:pt x="3619" y="141306"/>
                    </a:lnTo>
                    <a:lnTo>
                      <a:pt x="0" y="135484"/>
                    </a:lnTo>
                    <a:lnTo>
                      <a:pt x="5429" y="131481"/>
                    </a:lnTo>
                    <a:lnTo>
                      <a:pt x="11945" y="127114"/>
                    </a:lnTo>
                    <a:lnTo>
                      <a:pt x="19184" y="123112"/>
                    </a:lnTo>
                    <a:lnTo>
                      <a:pt x="25700" y="119109"/>
                    </a:lnTo>
                    <a:close/>
                    <a:moveTo>
                      <a:pt x="770994" y="0"/>
                    </a:moveTo>
                    <a:lnTo>
                      <a:pt x="790178" y="1448"/>
                    </a:lnTo>
                    <a:lnTo>
                      <a:pt x="808639" y="5068"/>
                    </a:lnTo>
                    <a:lnTo>
                      <a:pt x="827099" y="9411"/>
                    </a:lnTo>
                    <a:lnTo>
                      <a:pt x="844112" y="15565"/>
                    </a:lnTo>
                    <a:lnTo>
                      <a:pt x="860762" y="22442"/>
                    </a:lnTo>
                    <a:lnTo>
                      <a:pt x="875603" y="30044"/>
                    </a:lnTo>
                    <a:lnTo>
                      <a:pt x="890082" y="38369"/>
                    </a:lnTo>
                    <a:lnTo>
                      <a:pt x="902389" y="47056"/>
                    </a:lnTo>
                    <a:lnTo>
                      <a:pt x="914334" y="55381"/>
                    </a:lnTo>
                    <a:lnTo>
                      <a:pt x="924469" y="63345"/>
                    </a:lnTo>
                    <a:lnTo>
                      <a:pt x="932794" y="70946"/>
                    </a:lnTo>
                    <a:lnTo>
                      <a:pt x="940034" y="77823"/>
                    </a:lnTo>
                    <a:lnTo>
                      <a:pt x="945101" y="83253"/>
                    </a:lnTo>
                    <a:lnTo>
                      <a:pt x="948359" y="87958"/>
                    </a:lnTo>
                    <a:lnTo>
                      <a:pt x="949807" y="90492"/>
                    </a:lnTo>
                    <a:lnTo>
                      <a:pt x="950893" y="93388"/>
                    </a:lnTo>
                    <a:lnTo>
                      <a:pt x="952341" y="98818"/>
                    </a:lnTo>
                    <a:lnTo>
                      <a:pt x="954512" y="106419"/>
                    </a:lnTo>
                    <a:lnTo>
                      <a:pt x="957408" y="115830"/>
                    </a:lnTo>
                    <a:lnTo>
                      <a:pt x="960304" y="126689"/>
                    </a:lnTo>
                    <a:lnTo>
                      <a:pt x="963924" y="138634"/>
                    </a:lnTo>
                    <a:lnTo>
                      <a:pt x="967543" y="152027"/>
                    </a:lnTo>
                    <a:lnTo>
                      <a:pt x="971525" y="166144"/>
                    </a:lnTo>
                    <a:lnTo>
                      <a:pt x="975507" y="180622"/>
                    </a:lnTo>
                    <a:lnTo>
                      <a:pt x="978764" y="195101"/>
                    </a:lnTo>
                    <a:lnTo>
                      <a:pt x="982384" y="209580"/>
                    </a:lnTo>
                    <a:lnTo>
                      <a:pt x="985280" y="223335"/>
                    </a:lnTo>
                    <a:lnTo>
                      <a:pt x="987814" y="237089"/>
                    </a:lnTo>
                    <a:lnTo>
                      <a:pt x="989985" y="249396"/>
                    </a:lnTo>
                    <a:lnTo>
                      <a:pt x="991433" y="260979"/>
                    </a:lnTo>
                    <a:lnTo>
                      <a:pt x="991795" y="270391"/>
                    </a:lnTo>
                    <a:lnTo>
                      <a:pt x="991795" y="278354"/>
                    </a:lnTo>
                    <a:lnTo>
                      <a:pt x="990347" y="284507"/>
                    </a:lnTo>
                    <a:lnTo>
                      <a:pt x="986728" y="289937"/>
                    </a:lnTo>
                    <a:lnTo>
                      <a:pt x="981298" y="295728"/>
                    </a:lnTo>
                    <a:lnTo>
                      <a:pt x="974421" y="302244"/>
                    </a:lnTo>
                    <a:lnTo>
                      <a:pt x="965010" y="308759"/>
                    </a:lnTo>
                    <a:lnTo>
                      <a:pt x="954512" y="315275"/>
                    </a:lnTo>
                    <a:lnTo>
                      <a:pt x="942929" y="321428"/>
                    </a:lnTo>
                    <a:lnTo>
                      <a:pt x="929899" y="327220"/>
                    </a:lnTo>
                    <a:lnTo>
                      <a:pt x="916506" y="332649"/>
                    </a:lnTo>
                    <a:lnTo>
                      <a:pt x="902389" y="337355"/>
                    </a:lnTo>
                    <a:lnTo>
                      <a:pt x="888634" y="340612"/>
                    </a:lnTo>
                    <a:lnTo>
                      <a:pt x="874155" y="343870"/>
                    </a:lnTo>
                    <a:lnTo>
                      <a:pt x="860038" y="344594"/>
                    </a:lnTo>
                    <a:lnTo>
                      <a:pt x="846646" y="344594"/>
                    </a:lnTo>
                    <a:lnTo>
                      <a:pt x="833615" y="343146"/>
                    </a:lnTo>
                    <a:lnTo>
                      <a:pt x="821670" y="339165"/>
                    </a:lnTo>
                    <a:lnTo>
                      <a:pt x="811173" y="334097"/>
                    </a:lnTo>
                    <a:lnTo>
                      <a:pt x="798142" y="325410"/>
                    </a:lnTo>
                    <a:lnTo>
                      <a:pt x="784387" y="315637"/>
                    </a:lnTo>
                    <a:lnTo>
                      <a:pt x="769908" y="305864"/>
                    </a:lnTo>
                    <a:lnTo>
                      <a:pt x="754705" y="295366"/>
                    </a:lnTo>
                    <a:lnTo>
                      <a:pt x="739865" y="284507"/>
                    </a:lnTo>
                    <a:lnTo>
                      <a:pt x="725024" y="273286"/>
                    </a:lnTo>
                    <a:lnTo>
                      <a:pt x="710545" y="262065"/>
                    </a:lnTo>
                    <a:lnTo>
                      <a:pt x="697152" y="251568"/>
                    </a:lnTo>
                    <a:lnTo>
                      <a:pt x="684483" y="241071"/>
                    </a:lnTo>
                    <a:lnTo>
                      <a:pt x="672900" y="231660"/>
                    </a:lnTo>
                    <a:lnTo>
                      <a:pt x="663489" y="222611"/>
                    </a:lnTo>
                    <a:lnTo>
                      <a:pt x="655526" y="215009"/>
                    </a:lnTo>
                    <a:lnTo>
                      <a:pt x="649734" y="208494"/>
                    </a:lnTo>
                    <a:lnTo>
                      <a:pt x="645753" y="202702"/>
                    </a:lnTo>
                    <a:lnTo>
                      <a:pt x="641047" y="195101"/>
                    </a:lnTo>
                    <a:lnTo>
                      <a:pt x="636703" y="187138"/>
                    </a:lnTo>
                    <a:lnTo>
                      <a:pt x="631998" y="177727"/>
                    </a:lnTo>
                    <a:lnTo>
                      <a:pt x="628016" y="167592"/>
                    </a:lnTo>
                    <a:lnTo>
                      <a:pt x="624759" y="157094"/>
                    </a:lnTo>
                    <a:lnTo>
                      <a:pt x="621139" y="146235"/>
                    </a:lnTo>
                    <a:lnTo>
                      <a:pt x="618605" y="135376"/>
                    </a:lnTo>
                    <a:lnTo>
                      <a:pt x="617157" y="124879"/>
                    </a:lnTo>
                    <a:lnTo>
                      <a:pt x="616071" y="114744"/>
                    </a:lnTo>
                    <a:lnTo>
                      <a:pt x="616795" y="104609"/>
                    </a:lnTo>
                    <a:lnTo>
                      <a:pt x="618243" y="96284"/>
                    </a:lnTo>
                    <a:lnTo>
                      <a:pt x="621139" y="88682"/>
                    </a:lnTo>
                    <a:lnTo>
                      <a:pt x="625844" y="82167"/>
                    </a:lnTo>
                    <a:lnTo>
                      <a:pt x="631998" y="77823"/>
                    </a:lnTo>
                    <a:lnTo>
                      <a:pt x="639599" y="73480"/>
                    </a:lnTo>
                    <a:lnTo>
                      <a:pt x="648287" y="68774"/>
                    </a:lnTo>
                    <a:lnTo>
                      <a:pt x="658060" y="63345"/>
                    </a:lnTo>
                    <a:lnTo>
                      <a:pt x="668557" y="57553"/>
                    </a:lnTo>
                    <a:lnTo>
                      <a:pt x="680140" y="51038"/>
                    </a:lnTo>
                    <a:lnTo>
                      <a:pt x="691361" y="44522"/>
                    </a:lnTo>
                    <a:lnTo>
                      <a:pt x="702944" y="38007"/>
                    </a:lnTo>
                    <a:lnTo>
                      <a:pt x="714527" y="31491"/>
                    </a:lnTo>
                    <a:lnTo>
                      <a:pt x="726110" y="25338"/>
                    </a:lnTo>
                    <a:lnTo>
                      <a:pt x="736245" y="19546"/>
                    </a:lnTo>
                    <a:lnTo>
                      <a:pt x="746018" y="14479"/>
                    </a:lnTo>
                    <a:lnTo>
                      <a:pt x="753981" y="9411"/>
                    </a:lnTo>
                    <a:lnTo>
                      <a:pt x="760859" y="5430"/>
                    </a:lnTo>
                    <a:lnTo>
                      <a:pt x="766288" y="2534"/>
                    </a:lnTo>
                    <a:lnTo>
                      <a:pt x="769184" y="1086"/>
                    </a:lnTo>
                    <a:close/>
                  </a:path>
                </a:pathLst>
              </a:custGeom>
              <a:solidFill>
                <a:srgbClr val="98A6CC">
                  <a:lumMod val="10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29" name="Shape 594">
            <a:extLst>
              <a:ext uri="{FF2B5EF4-FFF2-40B4-BE49-F238E27FC236}">
                <a16:creationId xmlns:a16="http://schemas.microsoft.com/office/drawing/2014/main" xmlns="" id="{90A11DA1-7228-4404-95D0-AA4DE4591660}"/>
              </a:ext>
            </a:extLst>
          </p:cNvPr>
          <p:cNvSpPr txBox="1"/>
          <p:nvPr/>
        </p:nvSpPr>
        <p:spPr>
          <a:xfrm>
            <a:off x="485873" y="360835"/>
            <a:ext cx="8838684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1">
              <a:buClr>
                <a:srgbClr val="008EC9"/>
              </a:buClr>
              <a:buSzPts val="1200"/>
            </a:pPr>
            <a:r>
              <a:rPr lang="ru-RU" sz="2160" b="1" dirty="0">
                <a:solidFill>
                  <a:schemeClr val="bg1"/>
                </a:solidFill>
                <a:latin typeface="PT Sans Caption" panose="020B0603020203020204" pitchFamily="34" charset="0"/>
                <a:ea typeface="PT Sans Caption"/>
                <a:cs typeface="PT Sans Caption"/>
                <a:sym typeface="PT Sans Caption" panose="020B0603020203020204" pitchFamily="34" charset="0"/>
              </a:rPr>
              <a:t>Статус проектов маркировки</a:t>
            </a:r>
            <a:endParaRPr lang="bg-BG" sz="2160" b="1" dirty="0">
              <a:solidFill>
                <a:schemeClr val="bg1"/>
              </a:solidFill>
              <a:latin typeface="PT Sans Caption" panose="020B0603020203020204" pitchFamily="34" charset="0"/>
              <a:ea typeface="PT Sans Caption"/>
              <a:cs typeface="PT Sans Caption"/>
              <a:sym typeface="PT Sans Caption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20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MASTERWIZARD_MARGINS" val="0"/>
  <p:tag name="EE4P_LANGUAGE_ID" val="1033"/>
  <p:tag name="EE4P_STYLE_NAME" val="CRPT_yellow_grey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THINKCELLPRESENTATIONDONOTDELETE" val="&lt;?xml version=&quot;1.0&quot; encoding=&quot;UTF-16&quot; standalone=&quot;yes&quot;?&gt;&lt;root reqver=&quot;24162&quot;&gt;&lt;version val=&quot;27012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Case title"/>
  <p:tag name="EE4P_STRETCH" val="1"/>
  <p:tag name="EE4P_LAYOUT_ID" val="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WhZseRESdA6M44g0U0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AJcGGTA6by36kOytQ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445</TotalTime>
  <Words>1555</Words>
  <Application>Microsoft Office PowerPoint</Application>
  <PresentationFormat>Широкоэкранный</PresentationFormat>
  <Paragraphs>269</Paragraphs>
  <Slides>21</Slides>
  <Notes>7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  <vt:variant>
        <vt:lpstr>Произвольные показы</vt:lpstr>
      </vt:variant>
      <vt:variant>
        <vt:i4>1</vt:i4>
      </vt:variant>
    </vt:vector>
  </HeadingPairs>
  <TitlesOfParts>
    <vt:vector size="34" baseType="lpstr">
      <vt:lpstr>Arial</vt:lpstr>
      <vt:lpstr>Calibri</vt:lpstr>
      <vt:lpstr>Helvetica</vt:lpstr>
      <vt:lpstr>Open Sans</vt:lpstr>
      <vt:lpstr>PT Sans Caption</vt:lpstr>
      <vt:lpstr>PT Sans Caption </vt:lpstr>
      <vt:lpstr>Roboto</vt:lpstr>
      <vt:lpstr>Roboto Light</vt:lpstr>
      <vt:lpstr>Times New Roman</vt:lpstr>
      <vt:lpstr>Trebuchet MS</vt:lpstr>
      <vt:lpstr>2_BCG Grid 16:9</vt:lpstr>
      <vt:lpstr>think-cell Slide</vt:lpstr>
      <vt:lpstr>Национальная система цифровой   маркировки и прослеживания сигарет  </vt:lpstr>
      <vt:lpstr>Предпосылки</vt:lpstr>
      <vt:lpstr>Принято решение о создании единой системы маркировки и прослеживаемости товаров в РФ</vt:lpstr>
      <vt:lpstr>Презентация PowerPoint</vt:lpstr>
      <vt:lpstr>Презентация PowerPoint</vt:lpstr>
      <vt:lpstr>Презентация PowerPoint</vt:lpstr>
      <vt:lpstr>Модель функционирования системы маркировки</vt:lpstr>
      <vt:lpstr>Презентация PowerPoint</vt:lpstr>
      <vt:lpstr>Презентация PowerPoint</vt:lpstr>
      <vt:lpstr>Пилотный проект по маркировке табачной продукции </vt:lpstr>
      <vt:lpstr>Общественный контроль </vt:lpstr>
      <vt:lpstr>Порядок внедрения обязательной маркиров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</vt:lpstr>
      <vt:lpstr>Format Guide Workshop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   Обзор проекта</dc:title>
  <dc:subject/>
  <dc:creator>Сидоров Алексей</dc:creator>
  <cp:keywords/>
  <dc:description/>
  <cp:lastModifiedBy>Герман Кононенко</cp:lastModifiedBy>
  <cp:revision>184</cp:revision>
  <cp:lastPrinted>2018-07-02T12:57:03Z</cp:lastPrinted>
  <dcterms:created xsi:type="dcterms:W3CDTF">2018-06-15T05:33:37Z</dcterms:created>
  <dcterms:modified xsi:type="dcterms:W3CDTF">2019-03-15T07:18:1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_NewReviewCycle">
    <vt:lpwstr/>
  </property>
</Properties>
</file>